
<file path=[Content_Types].xml><?xml version="1.0" encoding="utf-8"?>
<Types xmlns="http://schemas.openxmlformats.org/package/2006/content-types"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Default Extension="bin" ContentType="application/vnd.openxmlformats-officedocument.oleObject"/>
  <Override PartName="/ppt/notesSlides/notesSlide1.xml" ContentType="application/vnd.openxmlformats-officedocument.presentationml.notesSlide+xml"/>
  <Default Extension="png" ContentType="image/png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emf" ContentType="image/x-emf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commentAuthors.xml" ContentType="application/vnd.openxmlformats-officedocument.presentationml.commentAuthor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0" r:id="rId1"/>
  </p:sldMasterIdLst>
  <p:notesMasterIdLst>
    <p:notesMasterId r:id="rId12"/>
  </p:notesMasterIdLst>
  <p:sldIdLst>
    <p:sldId id="284" r:id="rId2"/>
    <p:sldId id="298" r:id="rId3"/>
    <p:sldId id="297" r:id="rId4"/>
    <p:sldId id="314" r:id="rId5"/>
    <p:sldId id="296" r:id="rId6"/>
    <p:sldId id="299" r:id="rId7"/>
    <p:sldId id="310" r:id="rId8"/>
    <p:sldId id="300" r:id="rId9"/>
    <p:sldId id="312" r:id="rId10"/>
    <p:sldId id="316" r:id="rId11"/>
  </p:sldIdLst>
  <p:sldSz cx="9144000" cy="6858000" type="screen4x3"/>
  <p:notesSz cx="6858000" cy="9144000"/>
  <p:custDataLst>
    <p:tags r:id="rId1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teve Strebl" initials="SS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="" xmlns:p14="http://schemas.microsoft.com/office/powerpoint/2010/main">
          <a:srgbClr val="FF0000"/>
        </p14:laserClr>
      </p:ext>
      <p:ext uri="{2FDB2607-1784-4EEB-B798-7EB5836EED8A}">
        <p14:showMediaCtrls xmlns="" xmlns:p14="http://schemas.microsoft.com/office/powerpoint/2010/main" val="1"/>
      </p:ext>
    </p:extLst>
  </p:showPr>
  <p:clrMru>
    <a:srgbClr val="B4A983"/>
    <a:srgbClr val="8E8566"/>
    <a:srgbClr val="FAFAFA"/>
    <a:srgbClr val="F7F7F7"/>
    <a:srgbClr val="F9F9F9"/>
    <a:srgbClr val="F2F2F2"/>
    <a:srgbClr val="EEEEEE"/>
    <a:srgbClr val="EAEAEA"/>
    <a:srgbClr val="FFF27F"/>
    <a:srgbClr val="FFFC00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32767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Styl Středně sytá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E9639D4-E3E2-4D34-9284-5A2195B3D0D7}" styleName="Styl Světlá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>
    <p:restoredLeft sz="11403"/>
    <p:restoredTop sz="99068" autoAdjust="0"/>
  </p:normalViewPr>
  <p:slideViewPr>
    <p:cSldViewPr snapToGrid="0" snapToObjects="1">
      <p:cViewPr>
        <p:scale>
          <a:sx n="77" d="100"/>
          <a:sy n="77" d="100"/>
        </p:scale>
        <p:origin x="-222" y="-88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>
              <a:defRPr sz="1200"/>
            </a:lvl1pPr>
          </a:lstStyle>
          <a:p>
            <a:endParaRPr lang="cs-CZ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F1A113-1192-8942-9E42-1C9E98BEFBEF}" type="datetimeFigureOut">
              <a:rPr lang="cs-CZ" smtClean="0"/>
              <a:pPr/>
              <a:t>31.7.2017</a:t>
            </a:fld>
            <a:endParaRPr lang="cs-CZ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  <a:p>
            <a:pPr lvl="1"/>
            <a:r>
              <a:rPr lang="cs-CZ" dirty="0" smtClean="0"/>
              <a:t>Second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2"/>
            <a:r>
              <a:rPr lang="cs-CZ" dirty="0" err="1" smtClean="0"/>
              <a:t>Third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3"/>
            <a:r>
              <a:rPr lang="cs-CZ" dirty="0" err="1" smtClean="0"/>
              <a:t>Four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4"/>
            <a:r>
              <a:rPr lang="cs-CZ" dirty="0" err="1" smtClean="0"/>
              <a:t>Fif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>
              <a:defRPr sz="1200"/>
            </a:lvl1pPr>
          </a:lstStyle>
          <a:p>
            <a:endParaRPr lang="cs-CZ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64C9B38-2396-4F45-B6EA-4A5156482BAA}" type="slidenum">
              <a:rPr lang="cs-CZ" smtClean="0"/>
              <a:pPr/>
              <a:t>‹#›</a:t>
            </a:fld>
            <a:endParaRPr lang="cs-CZ" dirty="0"/>
          </a:p>
        </p:txBody>
      </p:sp>
    </p:spTree>
    <p:extLst>
      <p:ext uri="{BB962C8B-B14F-4D97-AF65-F5344CB8AC3E}">
        <p14:creationId xmlns="" xmlns:p14="http://schemas.microsoft.com/office/powerpoint/2010/main" val="18226372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cs-CZ" dirty="0" smtClean="0"/>
              <a:t>Už jste unavení</a:t>
            </a:r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64C9B38-2396-4F45-B6EA-4A5156482BAA}" type="slidenum">
              <a:rPr lang="cs-CZ" smtClean="0"/>
              <a:pPr/>
              <a:t>1</a:t>
            </a:fld>
            <a:endParaRPr lang="cs-CZ" dirty="0"/>
          </a:p>
        </p:txBody>
      </p:sp>
    </p:spTree>
    <p:extLst>
      <p:ext uri="{BB962C8B-B14F-4D97-AF65-F5344CB8AC3E}">
        <p14:creationId xmlns="" xmlns:p14="http://schemas.microsoft.com/office/powerpoint/2010/main" val="12990327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64C9B38-2396-4F45-B6EA-4A5156482BAA}" type="slidenum">
              <a:rPr lang="cs-CZ" smtClean="0"/>
              <a:pPr/>
              <a:t>5</a:t>
            </a:fld>
            <a:endParaRPr lang="cs-CZ" dirty="0"/>
          </a:p>
        </p:txBody>
      </p:sp>
    </p:spTree>
    <p:extLst>
      <p:ext uri="{BB962C8B-B14F-4D97-AF65-F5344CB8AC3E}">
        <p14:creationId xmlns="" xmlns:p14="http://schemas.microsoft.com/office/powerpoint/2010/main" val="35565220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 smtClean="0"/>
              <a:t>Faux pas:</a:t>
            </a:r>
            <a:r>
              <a:rPr lang="cs-CZ" baseline="0" dirty="0" smtClean="0"/>
              <a:t> </a:t>
            </a:r>
          </a:p>
          <a:p>
            <a:pPr marL="228600" indent="-228600">
              <a:buAutoNum type="arabicParenR"/>
            </a:pPr>
            <a:r>
              <a:rPr lang="cs-CZ" baseline="0" dirty="0" smtClean="0"/>
              <a:t>ODS </a:t>
            </a:r>
            <a:r>
              <a:rPr lang="mr-IN" baseline="0" dirty="0" smtClean="0"/>
              <a:t>–</a:t>
            </a:r>
            <a:r>
              <a:rPr lang="cs-CZ" baseline="0" dirty="0" smtClean="0"/>
              <a:t> Nekontrolovatelný výpadek ve výběru daní</a:t>
            </a: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arenR"/>
              <a:tabLst/>
              <a:defRPr/>
            </a:pPr>
            <a:r>
              <a:rPr lang="cs-CZ" baseline="0" dirty="0" smtClean="0"/>
              <a:t>ODS </a:t>
            </a:r>
            <a:r>
              <a:rPr lang="mr-IN" baseline="0" dirty="0" smtClean="0"/>
              <a:t>–</a:t>
            </a:r>
            <a:r>
              <a:rPr lang="cs-CZ" baseline="0" dirty="0" smtClean="0"/>
              <a:t> vyvádění zisku přes zaměstnanecký poměr </a:t>
            </a:r>
            <a:r>
              <a:rPr lang="mr-IN" baseline="0" dirty="0" smtClean="0"/>
              <a:t>–</a:t>
            </a:r>
            <a:r>
              <a:rPr lang="cs-CZ" baseline="0" dirty="0" smtClean="0"/>
              <a:t> daň je menší než 19%</a:t>
            </a: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arenR"/>
              <a:tabLst/>
              <a:defRPr/>
            </a:pPr>
            <a:r>
              <a:rPr lang="cs-CZ" baseline="0" dirty="0" smtClean="0"/>
              <a:t>ČSSD </a:t>
            </a:r>
            <a:r>
              <a:rPr lang="mr-IN" baseline="0" dirty="0" smtClean="0"/>
              <a:t>–</a:t>
            </a:r>
            <a:r>
              <a:rPr lang="cs-CZ" baseline="0" dirty="0" smtClean="0"/>
              <a:t> zvýšení zdanění práce (v sumě)</a:t>
            </a: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arenR"/>
              <a:tabLst/>
              <a:defRPr/>
            </a:pPr>
            <a:r>
              <a:rPr lang="cs-CZ" baseline="0" dirty="0" smtClean="0"/>
              <a:t>ČSSD </a:t>
            </a:r>
            <a:r>
              <a:rPr lang="mr-IN" baseline="0" dirty="0" smtClean="0"/>
              <a:t>–</a:t>
            </a:r>
            <a:r>
              <a:rPr lang="cs-CZ" baseline="0" dirty="0" smtClean="0"/>
              <a:t> útok na občany s příjmem mezi 50 </a:t>
            </a:r>
            <a:r>
              <a:rPr lang="mr-IN" baseline="0" dirty="0" smtClean="0"/>
              <a:t>–</a:t>
            </a:r>
            <a:r>
              <a:rPr lang="cs-CZ" baseline="0" dirty="0" smtClean="0"/>
              <a:t> 112 tis. korunami</a:t>
            </a:r>
          </a:p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64C9B38-2396-4F45-B6EA-4A5156482BAA}" type="slidenum">
              <a:rPr lang="cs-CZ" smtClean="0"/>
              <a:pPr/>
              <a:t>8</a:t>
            </a:fld>
            <a:endParaRPr lang="cs-CZ" dirty="0"/>
          </a:p>
        </p:txBody>
      </p:sp>
    </p:spTree>
    <p:extLst>
      <p:ext uri="{BB962C8B-B14F-4D97-AF65-F5344CB8AC3E}">
        <p14:creationId xmlns="" xmlns:p14="http://schemas.microsoft.com/office/powerpoint/2010/main" val="13590448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5999"/>
            </a:lvl1pPr>
          </a:lstStyle>
          <a:p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</a:t>
            </a:r>
            <a:r>
              <a:rPr lang="cs-CZ" dirty="0" err="1" smtClean="0"/>
              <a:t>title</a:t>
            </a:r>
            <a:r>
              <a:rPr lang="cs-CZ" dirty="0" smtClean="0"/>
              <a:t> style</a:t>
            </a:r>
            <a:endParaRPr lang="cs-CZ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0" indent="0" algn="ctr">
              <a:buNone/>
              <a:defRPr sz="2000"/>
            </a:lvl2pPr>
            <a:lvl3pPr marL="914338" indent="0" algn="ctr">
              <a:buNone/>
              <a:defRPr sz="1800"/>
            </a:lvl3pPr>
            <a:lvl4pPr marL="1371508" indent="0" algn="ctr">
              <a:buNone/>
              <a:defRPr sz="1600"/>
            </a:lvl4pPr>
            <a:lvl5pPr marL="1828678" indent="0" algn="ctr">
              <a:buNone/>
              <a:defRPr sz="1600"/>
            </a:lvl5pPr>
            <a:lvl6pPr marL="2285847" indent="0" algn="ctr">
              <a:buNone/>
              <a:defRPr sz="1600"/>
            </a:lvl6pPr>
            <a:lvl7pPr marL="2743017" indent="0" algn="ctr">
              <a:buNone/>
              <a:defRPr sz="1600"/>
            </a:lvl7pPr>
            <a:lvl8pPr marL="3200187" indent="0" algn="ctr">
              <a:buNone/>
              <a:defRPr sz="1600"/>
            </a:lvl8pPr>
            <a:lvl9pPr marL="3657355" indent="0" algn="ctr">
              <a:buNone/>
              <a:defRPr sz="1600"/>
            </a:lvl9pPr>
          </a:lstStyle>
          <a:p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</a:t>
            </a:r>
            <a:r>
              <a:rPr lang="cs-CZ" dirty="0" err="1" smtClean="0"/>
              <a:t>subtitle</a:t>
            </a:r>
            <a:r>
              <a:rPr lang="cs-CZ" dirty="0" smtClean="0"/>
              <a:t> style</a:t>
            </a:r>
            <a:endParaRPr lang="cs-CZ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smtClean="0"/>
              <a:t>Daně, které každý pochopí</a:t>
            </a:r>
            <a:endParaRPr lang="cs-CZ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‹#›</a:t>
            </a:fld>
            <a:endParaRPr lang="cs-CZ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</a:t>
            </a:r>
            <a:r>
              <a:rPr lang="cs-CZ" dirty="0" err="1" smtClean="0"/>
              <a:t>title</a:t>
            </a:r>
            <a:r>
              <a:rPr lang="cs-CZ" dirty="0" smtClean="0"/>
              <a:t> style</a:t>
            </a:r>
            <a:endParaRPr lang="cs-CZ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  <a:p>
            <a:pPr lvl="1"/>
            <a:r>
              <a:rPr lang="cs-CZ" dirty="0" smtClean="0"/>
              <a:t>Second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2"/>
            <a:r>
              <a:rPr lang="cs-CZ" dirty="0" err="1" smtClean="0"/>
              <a:t>Third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3"/>
            <a:r>
              <a:rPr lang="cs-CZ" dirty="0" err="1" smtClean="0"/>
              <a:t>Four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4"/>
            <a:r>
              <a:rPr lang="cs-CZ" dirty="0" err="1" smtClean="0"/>
              <a:t>Fif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smtClean="0"/>
              <a:t>Daně, které každý pochopí</a:t>
            </a:r>
            <a:endParaRPr lang="cs-CZ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‹#›</a:t>
            </a:fld>
            <a:endParaRPr lang="cs-CZ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7" y="365125"/>
            <a:ext cx="1971675" cy="5811838"/>
          </a:xfrm>
        </p:spPr>
        <p:txBody>
          <a:bodyPr vert="eaVert"/>
          <a:lstStyle/>
          <a:p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</a:t>
            </a:r>
            <a:r>
              <a:rPr lang="cs-CZ" dirty="0" err="1" smtClean="0"/>
              <a:t>title</a:t>
            </a:r>
            <a:r>
              <a:rPr lang="cs-CZ" dirty="0" smtClean="0"/>
              <a:t> style</a:t>
            </a:r>
            <a:endParaRPr lang="cs-CZ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2" y="365125"/>
            <a:ext cx="5800725" cy="5811838"/>
          </a:xfrm>
        </p:spPr>
        <p:txBody>
          <a:bodyPr vert="eaVert"/>
          <a:lstStyle/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  <a:p>
            <a:pPr lvl="1"/>
            <a:r>
              <a:rPr lang="cs-CZ" dirty="0" smtClean="0"/>
              <a:t>Second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2"/>
            <a:r>
              <a:rPr lang="cs-CZ" dirty="0" err="1" smtClean="0"/>
              <a:t>Third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3"/>
            <a:r>
              <a:rPr lang="cs-CZ" dirty="0" err="1" smtClean="0"/>
              <a:t>Four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4"/>
            <a:r>
              <a:rPr lang="cs-CZ" dirty="0" err="1" smtClean="0"/>
              <a:t>Fif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smtClean="0"/>
              <a:t>Daně, které každý pochopí</a:t>
            </a:r>
            <a:endParaRPr lang="cs-CZ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‹#›</a:t>
            </a:fld>
            <a:endParaRPr lang="cs-CZ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="" xmlns:p14="http://schemas.microsoft.com/office/powerpoint/2010/main" val="2488093275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p:oleObj spid="_x0000_s2220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1" y="323268"/>
            <a:ext cx="7886700" cy="934884"/>
          </a:xfrm>
          <a:noFill/>
        </p:spPr>
        <p:txBody>
          <a:bodyPr wrap="square" lIns="0" tIns="0" rIns="0" bIns="0" anchor="b">
            <a:noAutofit/>
          </a:bodyPr>
          <a:lstStyle>
            <a:lvl1pPr>
              <a:lnSpc>
                <a:spcPct val="100000"/>
              </a:lnSpc>
              <a:defRPr sz="2800"/>
            </a:lvl1pPr>
          </a:lstStyle>
          <a:p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</a:t>
            </a:r>
            <a:r>
              <a:rPr lang="cs-CZ" dirty="0" err="1" smtClean="0"/>
              <a:t>title</a:t>
            </a:r>
            <a:r>
              <a:rPr lang="cs-CZ" dirty="0" smtClean="0"/>
              <a:t> style</a:t>
            </a:r>
            <a:endParaRPr lang="cs-CZ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1" y="1489589"/>
            <a:ext cx="7886700" cy="4651519"/>
          </a:xfr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sz="1700"/>
            </a:lvl1pPr>
            <a:lvl2pPr>
              <a:lnSpc>
                <a:spcPct val="100000"/>
              </a:lnSpc>
              <a:spcAft>
                <a:spcPts val="600"/>
              </a:spcAft>
              <a:defRPr sz="1700"/>
            </a:lvl2pPr>
            <a:lvl3pPr>
              <a:lnSpc>
                <a:spcPct val="100000"/>
              </a:lnSpc>
              <a:spcAft>
                <a:spcPts val="600"/>
              </a:spcAft>
              <a:defRPr sz="1700"/>
            </a:lvl3pPr>
            <a:lvl4pPr>
              <a:lnSpc>
                <a:spcPct val="100000"/>
              </a:lnSpc>
              <a:spcAft>
                <a:spcPts val="600"/>
              </a:spcAft>
              <a:defRPr sz="1700"/>
            </a:lvl4pPr>
            <a:lvl5pPr>
              <a:lnSpc>
                <a:spcPct val="100000"/>
              </a:lnSpc>
              <a:spcAft>
                <a:spcPts val="600"/>
              </a:spcAft>
              <a:defRPr sz="1700"/>
            </a:lvl5pPr>
          </a:lstStyle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  <a:p>
            <a:pPr lvl="1"/>
            <a:r>
              <a:rPr lang="cs-CZ" dirty="0" smtClean="0"/>
              <a:t>Second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2"/>
            <a:r>
              <a:rPr lang="cs-CZ" dirty="0" err="1" smtClean="0"/>
              <a:t>Third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3"/>
            <a:r>
              <a:rPr lang="cs-CZ" dirty="0" err="1" smtClean="0"/>
              <a:t>Four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4"/>
            <a:r>
              <a:rPr lang="cs-CZ" dirty="0" err="1" smtClean="0"/>
              <a:t>Fif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28650" y="6320496"/>
            <a:ext cx="4567817" cy="365125"/>
          </a:xfrm>
        </p:spPr>
        <p:txBody>
          <a:bodyPr lIns="0"/>
          <a:lstStyle>
            <a:lvl1pPr algn="l">
              <a:defRPr sz="1051"/>
            </a:lvl1pPr>
          </a:lstStyle>
          <a:p>
            <a:r>
              <a:rPr lang="cs-CZ" smtClean="0"/>
              <a:t>Daně, které každý pochopí</a:t>
            </a:r>
            <a:endParaRPr lang="cs-CZ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1" y="6320496"/>
            <a:ext cx="2057400" cy="365125"/>
          </a:xfrm>
        </p:spPr>
        <p:txBody>
          <a:bodyPr lIns="0" tIns="0" rIns="0" bIns="0"/>
          <a:lstStyle>
            <a:lvl1pPr>
              <a:defRPr sz="1051"/>
            </a:lvl1pPr>
          </a:lstStyle>
          <a:p>
            <a:fld id="{79A700BF-2326-DB4F-8F72-13BDA6DF694D}" type="slidenum">
              <a:rPr lang="cs-CZ" smtClean="0"/>
              <a:pPr/>
              <a:t>‹#›</a:t>
            </a:fld>
            <a:endParaRPr lang="cs-CZ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90" y="1709740"/>
            <a:ext cx="7886700" cy="2852737"/>
          </a:xfrm>
        </p:spPr>
        <p:txBody>
          <a:bodyPr anchor="b"/>
          <a:lstStyle>
            <a:lvl1pPr>
              <a:defRPr sz="5999"/>
            </a:lvl1pPr>
          </a:lstStyle>
          <a:p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</a:t>
            </a:r>
            <a:r>
              <a:rPr lang="cs-CZ" dirty="0" err="1" smtClean="0"/>
              <a:t>title</a:t>
            </a:r>
            <a:r>
              <a:rPr lang="cs-CZ" dirty="0" smtClean="0"/>
              <a:t> style</a:t>
            </a:r>
            <a:endParaRPr lang="cs-CZ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90" y="4589466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17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3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0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7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4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1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18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5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smtClean="0"/>
              <a:t>Daně, které každý pochopí</a:t>
            </a:r>
            <a:endParaRPr lang="cs-CZ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‹#›</a:t>
            </a:fld>
            <a:endParaRPr lang="cs-CZ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</a:t>
            </a:r>
            <a:r>
              <a:rPr lang="cs-CZ" dirty="0" err="1" smtClean="0"/>
              <a:t>title</a:t>
            </a:r>
            <a:r>
              <a:rPr lang="cs-CZ" dirty="0" smtClean="0"/>
              <a:t> style</a:t>
            </a:r>
            <a:endParaRPr lang="cs-CZ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1" y="1825625"/>
            <a:ext cx="3886200" cy="4351338"/>
          </a:xfrm>
        </p:spPr>
        <p:txBody>
          <a:bodyPr/>
          <a:lstStyle/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  <a:p>
            <a:pPr lvl="1"/>
            <a:r>
              <a:rPr lang="cs-CZ" dirty="0" smtClean="0"/>
              <a:t>Second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2"/>
            <a:r>
              <a:rPr lang="cs-CZ" dirty="0" err="1" smtClean="0"/>
              <a:t>Third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3"/>
            <a:r>
              <a:rPr lang="cs-CZ" dirty="0" err="1" smtClean="0"/>
              <a:t>Four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4"/>
            <a:r>
              <a:rPr lang="cs-CZ" dirty="0" err="1" smtClean="0"/>
              <a:t>Fif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1" y="1825625"/>
            <a:ext cx="3886200" cy="4351338"/>
          </a:xfrm>
        </p:spPr>
        <p:txBody>
          <a:bodyPr/>
          <a:lstStyle/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  <a:p>
            <a:pPr lvl="1"/>
            <a:r>
              <a:rPr lang="cs-CZ" dirty="0" smtClean="0"/>
              <a:t>Second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2"/>
            <a:r>
              <a:rPr lang="cs-CZ" dirty="0" err="1" smtClean="0"/>
              <a:t>Third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3"/>
            <a:r>
              <a:rPr lang="cs-CZ" dirty="0" err="1" smtClean="0"/>
              <a:t>Four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4"/>
            <a:r>
              <a:rPr lang="cs-CZ" dirty="0" err="1" smtClean="0"/>
              <a:t>Fif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smtClean="0"/>
              <a:t>Daně, které každý pochopí</a:t>
            </a:r>
            <a:endParaRPr lang="cs-CZ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‹#›</a:t>
            </a:fld>
            <a:endParaRPr lang="cs-CZ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3" y="365127"/>
            <a:ext cx="7886700" cy="1325563"/>
          </a:xfrm>
        </p:spPr>
        <p:txBody>
          <a:bodyPr/>
          <a:lstStyle/>
          <a:p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</a:t>
            </a:r>
            <a:r>
              <a:rPr lang="cs-CZ" dirty="0" err="1" smtClean="0"/>
              <a:t>title</a:t>
            </a:r>
            <a:r>
              <a:rPr lang="cs-CZ" dirty="0" smtClean="0"/>
              <a:t> style</a:t>
            </a:r>
            <a:endParaRPr lang="cs-CZ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4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0" indent="0">
              <a:buNone/>
              <a:defRPr sz="2000" b="1"/>
            </a:lvl2pPr>
            <a:lvl3pPr marL="914338" indent="0">
              <a:buNone/>
              <a:defRPr sz="1800" b="1"/>
            </a:lvl3pPr>
            <a:lvl4pPr marL="1371508" indent="0">
              <a:buNone/>
              <a:defRPr sz="1600" b="1"/>
            </a:lvl4pPr>
            <a:lvl5pPr marL="1828678" indent="0">
              <a:buNone/>
              <a:defRPr sz="1600" b="1"/>
            </a:lvl5pPr>
            <a:lvl6pPr marL="2285847" indent="0">
              <a:buNone/>
              <a:defRPr sz="1600" b="1"/>
            </a:lvl6pPr>
            <a:lvl7pPr marL="2743017" indent="0">
              <a:buNone/>
              <a:defRPr sz="1600" b="1"/>
            </a:lvl7pPr>
            <a:lvl8pPr marL="3200187" indent="0">
              <a:buNone/>
              <a:defRPr sz="1600" b="1"/>
            </a:lvl8pPr>
            <a:lvl9pPr marL="3657355" indent="0">
              <a:buNone/>
              <a:defRPr sz="1600" b="1"/>
            </a:lvl9pPr>
          </a:lstStyle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6"/>
            <a:ext cx="3868340" cy="3684588"/>
          </a:xfrm>
        </p:spPr>
        <p:txBody>
          <a:bodyPr/>
          <a:lstStyle/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  <a:p>
            <a:pPr lvl="1"/>
            <a:r>
              <a:rPr lang="cs-CZ" dirty="0" smtClean="0"/>
              <a:t>Second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2"/>
            <a:r>
              <a:rPr lang="cs-CZ" dirty="0" err="1" smtClean="0"/>
              <a:t>Third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3"/>
            <a:r>
              <a:rPr lang="cs-CZ" dirty="0" err="1" smtClean="0"/>
              <a:t>Four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4"/>
            <a:r>
              <a:rPr lang="cs-CZ" dirty="0" err="1" smtClean="0"/>
              <a:t>Fif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3" y="1681164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0" indent="0">
              <a:buNone/>
              <a:defRPr sz="2000" b="1"/>
            </a:lvl2pPr>
            <a:lvl3pPr marL="914338" indent="0">
              <a:buNone/>
              <a:defRPr sz="1800" b="1"/>
            </a:lvl3pPr>
            <a:lvl4pPr marL="1371508" indent="0">
              <a:buNone/>
              <a:defRPr sz="1600" b="1"/>
            </a:lvl4pPr>
            <a:lvl5pPr marL="1828678" indent="0">
              <a:buNone/>
              <a:defRPr sz="1600" b="1"/>
            </a:lvl5pPr>
            <a:lvl6pPr marL="2285847" indent="0">
              <a:buNone/>
              <a:defRPr sz="1600" b="1"/>
            </a:lvl6pPr>
            <a:lvl7pPr marL="2743017" indent="0">
              <a:buNone/>
              <a:defRPr sz="1600" b="1"/>
            </a:lvl7pPr>
            <a:lvl8pPr marL="3200187" indent="0">
              <a:buNone/>
              <a:defRPr sz="1600" b="1"/>
            </a:lvl8pPr>
            <a:lvl9pPr marL="3657355" indent="0">
              <a:buNone/>
              <a:defRPr sz="1600" b="1"/>
            </a:lvl9pPr>
          </a:lstStyle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3" y="2505076"/>
            <a:ext cx="3887391" cy="3684588"/>
          </a:xfrm>
        </p:spPr>
        <p:txBody>
          <a:bodyPr/>
          <a:lstStyle/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  <a:p>
            <a:pPr lvl="1"/>
            <a:r>
              <a:rPr lang="cs-CZ" dirty="0" smtClean="0"/>
              <a:t>Second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2"/>
            <a:r>
              <a:rPr lang="cs-CZ" dirty="0" err="1" smtClean="0"/>
              <a:t>Third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3"/>
            <a:r>
              <a:rPr lang="cs-CZ" dirty="0" err="1" smtClean="0"/>
              <a:t>Four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4"/>
            <a:r>
              <a:rPr lang="cs-CZ" dirty="0" err="1" smtClean="0"/>
              <a:t>Fif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smtClean="0"/>
              <a:t>Daně, které každý pochopí</a:t>
            </a:r>
            <a:endParaRPr lang="cs-CZ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‹#›</a:t>
            </a:fld>
            <a:endParaRPr lang="cs-CZ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</a:t>
            </a:r>
            <a:r>
              <a:rPr lang="cs-CZ" dirty="0" err="1" smtClean="0"/>
              <a:t>title</a:t>
            </a:r>
            <a:r>
              <a:rPr lang="cs-CZ" dirty="0" smtClean="0"/>
              <a:t> style</a:t>
            </a:r>
            <a:endParaRPr lang="cs-CZ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smtClean="0"/>
              <a:t>Daně, které každý pochopí</a:t>
            </a:r>
            <a:endParaRPr lang="cs-CZ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‹#›</a:t>
            </a:fld>
            <a:endParaRPr lang="cs-CZ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smtClean="0"/>
              <a:t>Daně, které každý pochopí</a:t>
            </a:r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‹#›</a:t>
            </a:fld>
            <a:endParaRPr lang="cs-CZ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9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</a:t>
            </a:r>
            <a:r>
              <a:rPr lang="cs-CZ" dirty="0" err="1" smtClean="0"/>
              <a:t>title</a:t>
            </a:r>
            <a:r>
              <a:rPr lang="cs-CZ" dirty="0" smtClean="0"/>
              <a:t> style</a:t>
            </a:r>
            <a:endParaRPr lang="cs-CZ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3" y="987428"/>
            <a:ext cx="4629151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  <a:p>
            <a:pPr lvl="1"/>
            <a:r>
              <a:rPr lang="cs-CZ" dirty="0" smtClean="0"/>
              <a:t>Second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2"/>
            <a:r>
              <a:rPr lang="cs-CZ" dirty="0" err="1" smtClean="0"/>
              <a:t>Third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3"/>
            <a:r>
              <a:rPr lang="cs-CZ" dirty="0" err="1" smtClean="0"/>
              <a:t>Four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4"/>
            <a:r>
              <a:rPr lang="cs-CZ" dirty="0" err="1" smtClean="0"/>
              <a:t>Fif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9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70" indent="0">
              <a:buNone/>
              <a:defRPr sz="1400"/>
            </a:lvl2pPr>
            <a:lvl3pPr marL="914338" indent="0">
              <a:buNone/>
              <a:defRPr sz="1200"/>
            </a:lvl3pPr>
            <a:lvl4pPr marL="1371508" indent="0">
              <a:buNone/>
              <a:defRPr sz="1000"/>
            </a:lvl4pPr>
            <a:lvl5pPr marL="1828678" indent="0">
              <a:buNone/>
              <a:defRPr sz="1000"/>
            </a:lvl5pPr>
            <a:lvl6pPr marL="2285847" indent="0">
              <a:buNone/>
              <a:defRPr sz="1000"/>
            </a:lvl6pPr>
            <a:lvl7pPr marL="2743017" indent="0">
              <a:buNone/>
              <a:defRPr sz="1000"/>
            </a:lvl7pPr>
            <a:lvl8pPr marL="3200187" indent="0">
              <a:buNone/>
              <a:defRPr sz="1000"/>
            </a:lvl8pPr>
            <a:lvl9pPr marL="3657355" indent="0">
              <a:buNone/>
              <a:defRPr sz="1000"/>
            </a:lvl9pPr>
          </a:lstStyle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smtClean="0"/>
              <a:t>Daně, které každý pochopí</a:t>
            </a:r>
            <a:endParaRPr lang="cs-CZ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‹#›</a:t>
            </a:fld>
            <a:endParaRPr lang="cs-CZ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9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</a:t>
            </a:r>
            <a:r>
              <a:rPr lang="cs-CZ" dirty="0" err="1" smtClean="0"/>
              <a:t>title</a:t>
            </a:r>
            <a:r>
              <a:rPr lang="cs-CZ" dirty="0" smtClean="0"/>
              <a:t> style</a:t>
            </a:r>
            <a:endParaRPr lang="cs-CZ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3" y="987428"/>
            <a:ext cx="4629151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170" indent="0">
              <a:buNone/>
              <a:defRPr sz="2800"/>
            </a:lvl2pPr>
            <a:lvl3pPr marL="914338" indent="0">
              <a:buNone/>
              <a:defRPr sz="2400"/>
            </a:lvl3pPr>
            <a:lvl4pPr marL="1371508" indent="0">
              <a:buNone/>
              <a:defRPr sz="2000"/>
            </a:lvl4pPr>
            <a:lvl5pPr marL="1828678" indent="0">
              <a:buNone/>
              <a:defRPr sz="2000"/>
            </a:lvl5pPr>
            <a:lvl6pPr marL="2285847" indent="0">
              <a:buNone/>
              <a:defRPr sz="2000"/>
            </a:lvl6pPr>
            <a:lvl7pPr marL="2743017" indent="0">
              <a:buNone/>
              <a:defRPr sz="2000"/>
            </a:lvl7pPr>
            <a:lvl8pPr marL="3200187" indent="0">
              <a:buNone/>
              <a:defRPr sz="2000"/>
            </a:lvl8pPr>
            <a:lvl9pPr marL="3657355" indent="0">
              <a:buNone/>
              <a:defRPr sz="2000"/>
            </a:lvl9pPr>
          </a:lstStyle>
          <a:p>
            <a:r>
              <a:rPr lang="cs-CZ" dirty="0" err="1" smtClean="0"/>
              <a:t>Drag</a:t>
            </a:r>
            <a:r>
              <a:rPr lang="cs-CZ" dirty="0" smtClean="0"/>
              <a:t> </a:t>
            </a:r>
            <a:r>
              <a:rPr lang="cs-CZ" dirty="0" err="1" smtClean="0"/>
              <a:t>picture</a:t>
            </a:r>
            <a:r>
              <a:rPr lang="cs-CZ" dirty="0" smtClean="0"/>
              <a:t> to </a:t>
            </a:r>
            <a:r>
              <a:rPr lang="cs-CZ" dirty="0" err="1" smtClean="0"/>
              <a:t>placeholder</a:t>
            </a:r>
            <a:r>
              <a:rPr lang="cs-CZ" dirty="0" smtClean="0"/>
              <a:t> </a:t>
            </a:r>
            <a:r>
              <a:rPr lang="cs-CZ" dirty="0" err="1" smtClean="0"/>
              <a:t>or</a:t>
            </a:r>
            <a:r>
              <a:rPr lang="cs-CZ" dirty="0" smtClean="0"/>
              <a:t> </a:t>
            </a:r>
            <a:r>
              <a:rPr lang="cs-CZ" dirty="0" err="1" smtClean="0"/>
              <a:t>click</a:t>
            </a:r>
            <a:r>
              <a:rPr lang="cs-CZ" dirty="0" smtClean="0"/>
              <a:t> </a:t>
            </a:r>
            <a:r>
              <a:rPr lang="cs-CZ" dirty="0" err="1" smtClean="0"/>
              <a:t>icon</a:t>
            </a:r>
            <a:r>
              <a:rPr lang="cs-CZ" dirty="0" smtClean="0"/>
              <a:t> to </a:t>
            </a:r>
            <a:r>
              <a:rPr lang="cs-CZ" dirty="0" err="1" smtClean="0"/>
              <a:t>add</a:t>
            </a:r>
            <a:endParaRPr lang="cs-CZ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9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70" indent="0">
              <a:buNone/>
              <a:defRPr sz="1400"/>
            </a:lvl2pPr>
            <a:lvl3pPr marL="914338" indent="0">
              <a:buNone/>
              <a:defRPr sz="1200"/>
            </a:lvl3pPr>
            <a:lvl4pPr marL="1371508" indent="0">
              <a:buNone/>
              <a:defRPr sz="1000"/>
            </a:lvl4pPr>
            <a:lvl5pPr marL="1828678" indent="0">
              <a:buNone/>
              <a:defRPr sz="1000"/>
            </a:lvl5pPr>
            <a:lvl6pPr marL="2285847" indent="0">
              <a:buNone/>
              <a:defRPr sz="1000"/>
            </a:lvl6pPr>
            <a:lvl7pPr marL="2743017" indent="0">
              <a:buNone/>
              <a:defRPr sz="1000"/>
            </a:lvl7pPr>
            <a:lvl8pPr marL="3200187" indent="0">
              <a:buNone/>
              <a:defRPr sz="1000"/>
            </a:lvl8pPr>
            <a:lvl9pPr marL="3657355" indent="0">
              <a:buNone/>
              <a:defRPr sz="1000"/>
            </a:lvl9pPr>
          </a:lstStyle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smtClean="0"/>
              <a:t>Daně, které každý pochopí</a:t>
            </a:r>
            <a:endParaRPr lang="cs-CZ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‹#›</a:t>
            </a:fld>
            <a:endParaRPr lang="cs-CZ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="" xmlns:p14="http://schemas.microsoft.com/office/powerpoint/2010/main" val="2843041926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p:oleObj spid="_x0000_s1210" name="think-cell Slide" r:id="rId15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1" y="365127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</a:t>
            </a:r>
            <a:r>
              <a:rPr lang="cs-CZ" dirty="0" err="1" smtClean="0"/>
              <a:t>title</a:t>
            </a:r>
            <a:r>
              <a:rPr lang="cs-CZ" dirty="0" smtClean="0"/>
              <a:t> style</a:t>
            </a:r>
            <a:endParaRPr lang="cs-CZ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1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  <a:p>
            <a:pPr lvl="1"/>
            <a:r>
              <a:rPr lang="cs-CZ" dirty="0" smtClean="0"/>
              <a:t>Second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2"/>
            <a:r>
              <a:rPr lang="cs-CZ" dirty="0" err="1" smtClean="0"/>
              <a:t>Third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3"/>
            <a:r>
              <a:rPr lang="cs-CZ" dirty="0" err="1" smtClean="0"/>
              <a:t>Four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4"/>
            <a:r>
              <a:rPr lang="cs-CZ" dirty="0" err="1" smtClean="0"/>
              <a:t>Fif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1" y="6356353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1" y="6356353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cs-CZ" smtClean="0"/>
              <a:t>Daně, které každý pochopí</a:t>
            </a:r>
            <a:endParaRPr lang="cs-CZ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1" y="6356353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9A700BF-2326-DB4F-8F72-13BDA6DF694D}" type="slidenum">
              <a:rPr lang="cs-CZ" smtClean="0"/>
              <a:pPr/>
              <a:t>‹#›</a:t>
            </a:fld>
            <a:endParaRPr lang="cs-CZ" dirty="0"/>
          </a:p>
        </p:txBody>
      </p:sp>
    </p:spTree>
    <p:extLst>
      <p:ext uri="{BB962C8B-B14F-4D97-AF65-F5344CB8AC3E}">
        <p14:creationId xmlns="" xmlns:p14="http://schemas.microsoft.com/office/powerpoint/2010/main" val="12766901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dt="0"/>
  <p:txStyles>
    <p:titleStyle>
      <a:lvl1pPr algn="l" defTabSz="914338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5" indent="-228585" algn="l" defTabSz="914338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55" indent="-228585" algn="l" defTabSz="91433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23" indent="-228585" algn="l" defTabSz="91433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93" indent="-228585" algn="l" defTabSz="91433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63" indent="-228585" algn="l" defTabSz="91433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32" indent="-228585" algn="l" defTabSz="91433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02" indent="-228585" algn="l" defTabSz="91433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72" indent="-228585" algn="l" defTabSz="91433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40" indent="-228585" algn="l" defTabSz="91433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0" algn="l" defTabSz="9143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8" algn="l" defTabSz="9143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08" algn="l" defTabSz="9143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78" algn="l" defTabSz="9143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47" algn="l" defTabSz="9143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17" algn="l" defTabSz="9143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87" algn="l" defTabSz="9143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55" algn="l" defTabSz="9143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png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6563" y="2741387"/>
            <a:ext cx="1262819" cy="1262819"/>
          </a:xfrm>
          <a:prstGeom prst="rect">
            <a:avLst/>
          </a:prstGeom>
        </p:spPr>
      </p:pic>
      <p:sp>
        <p:nvSpPr>
          <p:cNvPr id="6" name="Title 1"/>
          <p:cNvSpPr txBox="1">
            <a:spLocks/>
          </p:cNvSpPr>
          <p:nvPr/>
        </p:nvSpPr>
        <p:spPr>
          <a:xfrm>
            <a:off x="3591612" y="2699432"/>
            <a:ext cx="3742441" cy="1346728"/>
          </a:xfrm>
          <a:prstGeom prst="rect">
            <a:avLst/>
          </a:prstGeom>
        </p:spPr>
        <p:txBody>
          <a:bodyPr vert="horz" lIns="0" tIns="0" rIns="0" bIns="0" rtlCol="0" anchor="ctr">
            <a:normAutofit fontScale="92500"/>
          </a:bodyPr>
          <a:lstStyle/>
          <a:p>
            <a:pPr marL="0" marR="0" lvl="0" indent="0" defTabSz="914338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kumimoji="0" lang="cs-CZ" sz="3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M+ 1c" pitchFamily="34" charset="-128"/>
                <a:ea typeface="M+ 1c" pitchFamily="34" charset="-128"/>
                <a:cs typeface="M+ 1c" pitchFamily="34" charset="-128"/>
              </a:rPr>
              <a:t>,</a:t>
            </a:r>
          </a:p>
          <a:p>
            <a:pPr marL="0" marR="0" lvl="0" indent="0" defTabSz="914338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2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egální</a:t>
            </a:r>
            <a:r>
              <a:rPr lang="en-US" sz="32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a </a:t>
            </a:r>
            <a:r>
              <a:rPr lang="en-US" sz="32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egulované</a:t>
            </a:r>
            <a:endParaRPr kumimoji="0" lang="cs-CZ" sz="320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1318396" y="6165041"/>
            <a:ext cx="6491063" cy="3901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lvl="0" algn="ctr" defTabSz="914338">
              <a:lnSpc>
                <a:spcPct val="110000"/>
              </a:lnSpc>
              <a:spcBef>
                <a:spcPct val="0"/>
              </a:spcBef>
              <a:defRPr/>
            </a:pPr>
            <a:r>
              <a:rPr lang="cs-CZ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https://www.pirati.cz/program/dlouhodoby/psychotropni-latky/</a:t>
            </a:r>
          </a:p>
        </p:txBody>
      </p:sp>
    </p:spTree>
    <p:extLst>
      <p:ext uri="{BB962C8B-B14F-4D97-AF65-F5344CB8AC3E}">
        <p14:creationId xmlns="" xmlns:p14="http://schemas.microsoft.com/office/powerpoint/2010/main" val="8764406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 descr="autori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66209" y="960228"/>
            <a:ext cx="2776604" cy="269738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1" y="321266"/>
            <a:ext cx="7886700" cy="525905"/>
          </a:xfrm>
        </p:spPr>
        <p:txBody>
          <a:bodyPr/>
          <a:lstStyle/>
          <a:p>
            <a:pPr algn="ctr"/>
            <a:r>
              <a:rPr lang="cs-CZ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Autoři reformy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egáln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a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egulované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10</a:t>
            </a:fld>
            <a:endParaRPr lang="cs-CZ" dirty="0"/>
          </a:p>
        </p:txBody>
      </p:sp>
      <p:sp>
        <p:nvSpPr>
          <p:cNvPr id="9" name="TextBox 8"/>
          <p:cNvSpPr txBox="1"/>
          <p:nvPr/>
        </p:nvSpPr>
        <p:spPr>
          <a:xfrm>
            <a:off x="6595834" y="3826182"/>
            <a:ext cx="1441100" cy="2308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5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Tomáš</a:t>
            </a:r>
            <a:r>
              <a:rPr lang="en-US" sz="15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5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Vymazal</a:t>
            </a:r>
            <a:endParaRPr lang="cs-CZ" sz="1500" b="1" dirty="0">
              <a:solidFill>
                <a:schemeClr val="tx1">
                  <a:lumMod val="75000"/>
                  <a:lumOff val="25000"/>
                </a:schemeClr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6640315" y="4879647"/>
            <a:ext cx="1341714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200" dirty="0" err="1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Alchymie</a:t>
            </a:r>
            <a:r>
              <a:rPr lang="cs-CZ" sz="1200" dirty="0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,</a:t>
            </a:r>
            <a:endParaRPr lang="cs-CZ" sz="1200" dirty="0" smtClean="0">
              <a:solidFill>
                <a:sysClr val="windowText" lastClr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algn="ctr"/>
            <a:r>
              <a:rPr lang="en-US" sz="1200" b="1" dirty="0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Pirate Space Brno</a:t>
            </a:r>
            <a:endParaRPr lang="cs-CZ" sz="1200" b="1" dirty="0">
              <a:solidFill>
                <a:sysClr val="windowText" lastClr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6196478" y="4338943"/>
            <a:ext cx="2223366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200" i="1" dirty="0" err="1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Kandidát</a:t>
            </a:r>
            <a:r>
              <a:rPr lang="en-US" sz="1200" i="1" dirty="0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č. 2 v </a:t>
            </a:r>
            <a:r>
              <a:rPr lang="en-US" sz="1200" i="1" dirty="0" err="1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Jihomoravském</a:t>
            </a:r>
            <a:endParaRPr lang="en-US" sz="1200" i="1" dirty="0" smtClean="0">
              <a:solidFill>
                <a:sysClr val="windowText" lastClr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algn="ctr"/>
            <a:r>
              <a:rPr lang="en-US" sz="1200" i="1" dirty="0" err="1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kr</a:t>
            </a:r>
            <a:r>
              <a:rPr lang="en-US" sz="1200" i="1" dirty="0" err="1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aji</a:t>
            </a:r>
            <a:r>
              <a:rPr lang="en-US" sz="1200" i="1" dirty="0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sz="1200" i="1" dirty="0" err="1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informatik</a:t>
            </a:r>
            <a:r>
              <a:rPr lang="en-US" sz="1200" i="1" dirty="0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sz="1200" i="1" dirty="0" err="1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zahrádkář</a:t>
            </a:r>
            <a:endParaRPr lang="cs-CZ" sz="1200" i="1" dirty="0">
              <a:solidFill>
                <a:sysClr val="windowText" lastClr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169998" y="3826182"/>
            <a:ext cx="1316066" cy="2308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5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Michal </a:t>
            </a:r>
            <a:r>
              <a:rPr lang="en-US" sz="15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Ketner</a:t>
            </a:r>
            <a:endParaRPr lang="cs-CZ" sz="1500" b="1" dirty="0">
              <a:solidFill>
                <a:schemeClr val="tx1">
                  <a:lumMod val="75000"/>
                  <a:lumOff val="25000"/>
                </a:schemeClr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872761" y="4338943"/>
            <a:ext cx="1854675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200" i="1" dirty="0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White hacker, </a:t>
            </a:r>
            <a:r>
              <a:rPr lang="en-US" sz="1200" i="1" dirty="0" err="1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matematik</a:t>
            </a:r>
            <a:r>
              <a:rPr lang="en-US" sz="1200" i="1" dirty="0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,</a:t>
            </a:r>
          </a:p>
          <a:p>
            <a:pPr algn="ctr"/>
            <a:r>
              <a:rPr lang="en-US" sz="1200" i="1" dirty="0" err="1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f</a:t>
            </a:r>
            <a:r>
              <a:rPr lang="en-US" sz="1200" i="1" dirty="0" err="1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ilozof</a:t>
            </a:r>
            <a:endParaRPr lang="cs-CZ" sz="1200" i="1" dirty="0">
              <a:solidFill>
                <a:sysClr val="windowText" lastClr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947044" y="4879647"/>
            <a:ext cx="1702389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200" dirty="0" err="1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Logika</a:t>
            </a:r>
            <a:r>
              <a:rPr lang="cs-CZ" sz="1200" dirty="0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,</a:t>
            </a:r>
          </a:p>
          <a:p>
            <a:pPr algn="ctr"/>
            <a:r>
              <a:rPr lang="en-US" sz="1200" b="1" dirty="0" err="1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Filozofická</a:t>
            </a:r>
            <a:r>
              <a:rPr lang="cs-CZ" sz="1200" b="1" dirty="0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fakulta UK</a:t>
            </a:r>
            <a:endParaRPr lang="cs-CZ" sz="1200" b="1" dirty="0">
              <a:solidFill>
                <a:sysClr val="windowText" lastClr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867187" y="3863253"/>
            <a:ext cx="1468351" cy="2308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5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Jana </a:t>
            </a:r>
            <a:r>
              <a:rPr lang="en-US" sz="15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Michailidu</a:t>
            </a:r>
            <a:endParaRPr lang="cs-CZ" sz="1500" b="1" dirty="0">
              <a:solidFill>
                <a:schemeClr val="tx1">
                  <a:lumMod val="75000"/>
                  <a:lumOff val="25000"/>
                </a:schemeClr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3787377" y="4338943"/>
            <a:ext cx="1723228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200" i="1" dirty="0" err="1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Doktorand</a:t>
            </a:r>
            <a:r>
              <a:rPr lang="en-US" sz="1200" i="1" dirty="0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sz="1200" i="1" dirty="0" err="1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psychonaut</a:t>
            </a:r>
            <a:r>
              <a:rPr lang="en-US" sz="1200" i="1" dirty="0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,</a:t>
            </a:r>
          </a:p>
          <a:p>
            <a:pPr algn="ctr"/>
            <a:r>
              <a:rPr lang="en-US" sz="1200" i="1" dirty="0" err="1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chaot</a:t>
            </a:r>
            <a:r>
              <a:rPr lang="en-US" sz="1200" i="1" dirty="0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i="1" dirty="0" err="1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dobrodinec</a:t>
            </a:r>
            <a:r>
              <a:rPr lang="en-US" sz="1200" i="1" dirty="0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endParaRPr lang="cs-CZ" sz="1200" i="1" dirty="0">
              <a:solidFill>
                <a:sysClr val="windowText" lastClr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3821974" y="4879647"/>
            <a:ext cx="1493999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2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Biotechnologie</a:t>
            </a:r>
            <a:r>
              <a:rPr lang="en-US" sz="12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éčiv</a:t>
            </a:r>
            <a:r>
              <a:rPr lang="cs-CZ" sz="1200" dirty="0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,</a:t>
            </a:r>
            <a:endParaRPr lang="cs-CZ" sz="1200" dirty="0" smtClean="0">
              <a:solidFill>
                <a:sysClr val="windowText" lastClr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algn="ctr"/>
            <a:r>
              <a:rPr lang="en-US" sz="1200" b="1" dirty="0" smtClean="0">
                <a:solidFill>
                  <a:sysClr val="windowText" lastClr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VŠCHT</a:t>
            </a:r>
            <a:endParaRPr lang="cs-CZ" sz="1200" b="1" dirty="0">
              <a:solidFill>
                <a:sysClr val="windowText" lastClr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4265098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="" xmlns:p14="http://schemas.microsoft.com/office/powerpoint/2010/main" val="15366812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7260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1" y="310911"/>
            <a:ext cx="7886700" cy="529341"/>
          </a:xfrm>
        </p:spPr>
        <p:txBody>
          <a:bodyPr/>
          <a:lstStyle/>
          <a:p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Chceme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egalizovat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.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Jak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to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vidíme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?</a:t>
            </a:r>
            <a:endParaRPr lang="en-US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egáln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a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egulované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2992083" y="2177562"/>
            <a:ext cx="3425753" cy="426434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amopěstování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7" name="Oval 6"/>
          <p:cNvSpPr>
            <a:spLocks noChangeAspect="1"/>
          </p:cNvSpPr>
          <p:nvPr/>
        </p:nvSpPr>
        <p:spPr>
          <a:xfrm>
            <a:off x="2096454" y="2115034"/>
            <a:ext cx="540000" cy="540000"/>
          </a:xfrm>
          <a:prstGeom prst="ellipse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cs-CZ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1</a:t>
            </a:r>
            <a:endParaRPr lang="cs-CZ" sz="2000" dirty="0">
              <a:solidFill>
                <a:schemeClr val="tx1">
                  <a:lumMod val="75000"/>
                  <a:lumOff val="25000"/>
                </a:schemeClr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2991917" y="2960751"/>
            <a:ext cx="3426053" cy="426434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né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polečenské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luby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9" name="Oval 8"/>
          <p:cNvSpPr>
            <a:spLocks noChangeAspect="1"/>
          </p:cNvSpPr>
          <p:nvPr/>
        </p:nvSpPr>
        <p:spPr>
          <a:xfrm>
            <a:off x="2096288" y="2922937"/>
            <a:ext cx="540000" cy="540000"/>
          </a:xfrm>
          <a:prstGeom prst="ellipse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cs-CZ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2</a:t>
            </a:r>
            <a:endParaRPr lang="cs-CZ" sz="2000" dirty="0">
              <a:solidFill>
                <a:schemeClr val="tx1">
                  <a:lumMod val="75000"/>
                  <a:lumOff val="25000"/>
                </a:schemeClr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2991917" y="3757906"/>
            <a:ext cx="4889722" cy="426434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merčn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rodej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16" name="Oval 15"/>
          <p:cNvSpPr>
            <a:spLocks noChangeAspect="1"/>
          </p:cNvSpPr>
          <p:nvPr/>
        </p:nvSpPr>
        <p:spPr>
          <a:xfrm>
            <a:off x="2096288" y="3718482"/>
            <a:ext cx="540000" cy="540000"/>
          </a:xfrm>
          <a:prstGeom prst="ellipse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cs-CZ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3</a:t>
            </a:r>
            <a:endParaRPr lang="cs-CZ" sz="2000" dirty="0">
              <a:solidFill>
                <a:schemeClr val="tx1">
                  <a:lumMod val="75000"/>
                  <a:lumOff val="25000"/>
                </a:schemeClr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628650" y="1606192"/>
            <a:ext cx="4385816" cy="2616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Aft>
                <a:spcPts val="3600"/>
              </a:spcAft>
            </a:pPr>
            <a:r>
              <a:rPr lang="cs-CZ" sz="1700" b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Hlavní cíle reformy:</a:t>
            </a:r>
            <a:endParaRPr lang="cs-CZ" sz="1700" b="1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2</a:t>
            </a:fld>
            <a:endParaRPr lang="cs-CZ" dirty="0"/>
          </a:p>
        </p:txBody>
      </p:sp>
      <p:sp>
        <p:nvSpPr>
          <p:cNvPr id="13" name="Rectangle 12"/>
          <p:cNvSpPr/>
          <p:nvPr/>
        </p:nvSpPr>
        <p:spPr>
          <a:xfrm>
            <a:off x="2996033" y="4552870"/>
            <a:ext cx="4889722" cy="426434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ezávislá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trola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vality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17" name="Oval 16"/>
          <p:cNvSpPr>
            <a:spLocks noChangeAspect="1"/>
          </p:cNvSpPr>
          <p:nvPr/>
        </p:nvSpPr>
        <p:spPr>
          <a:xfrm>
            <a:off x="2100404" y="4513446"/>
            <a:ext cx="540000" cy="540000"/>
          </a:xfrm>
          <a:prstGeom prst="ellipse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4</a:t>
            </a:r>
            <a:endParaRPr lang="cs-CZ" sz="2000" dirty="0">
              <a:solidFill>
                <a:schemeClr val="tx1">
                  <a:lumMod val="75000"/>
                  <a:lumOff val="25000"/>
                </a:schemeClr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3008390" y="5343718"/>
            <a:ext cx="4889722" cy="426434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Omezen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řístupu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mládeži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19" name="Oval 18"/>
          <p:cNvSpPr>
            <a:spLocks noChangeAspect="1"/>
          </p:cNvSpPr>
          <p:nvPr/>
        </p:nvSpPr>
        <p:spPr>
          <a:xfrm>
            <a:off x="2112761" y="5304294"/>
            <a:ext cx="540000" cy="540000"/>
          </a:xfrm>
          <a:prstGeom prst="ellipse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5</a:t>
            </a:r>
            <a:endParaRPr lang="cs-CZ" sz="2000" dirty="0">
              <a:solidFill>
                <a:schemeClr val="tx1">
                  <a:lumMod val="75000"/>
                  <a:lumOff val="25000"/>
                </a:schemeClr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0167716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/>
          <p:cNvCxnSpPr/>
          <p:nvPr/>
        </p:nvCxnSpPr>
        <p:spPr>
          <a:xfrm>
            <a:off x="628651" y="1775379"/>
            <a:ext cx="7886700" cy="1588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ectangle 65"/>
          <p:cNvSpPr/>
          <p:nvPr/>
        </p:nvSpPr>
        <p:spPr>
          <a:xfrm>
            <a:off x="3817720" y="1639146"/>
            <a:ext cx="1461154" cy="28891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400" dirty="0" smtClean="0">
                <a:solidFill>
                  <a:schemeClr val="tx1"/>
                </a:solidFill>
              </a:rPr>
              <a:t>Dnes</a:t>
            </a:r>
            <a:endParaRPr lang="cs-CZ" sz="1400" dirty="0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430" y="328056"/>
            <a:ext cx="7886700" cy="1006473"/>
          </a:xfrm>
        </p:spPr>
        <p:txBody>
          <a:bodyPr>
            <a:noAutofit/>
          </a:bodyPr>
          <a:lstStyle/>
          <a:p>
            <a:r>
              <a:rPr lang="en-US" sz="28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edostupné</a:t>
            </a:r>
            <a:r>
              <a:rPr lang="en-US" sz="28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8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sz="28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a </a:t>
            </a:r>
            <a:r>
              <a:rPr lang="en-US" sz="28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černý</a:t>
            </a:r>
            <a:r>
              <a:rPr lang="en-US" sz="28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8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trh</a:t>
            </a:r>
            <a:r>
              <a:rPr lang="en-US" sz="28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– </a:t>
            </a:r>
            <a:r>
              <a:rPr lang="en-US" sz="28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oučasná</a:t>
            </a:r>
            <a:r>
              <a:rPr lang="en-US" sz="28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8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ituace</a:t>
            </a:r>
            <a:endParaRPr lang="en-US" sz="2800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19" name="Content Placeholder 18"/>
          <p:cNvSpPr>
            <a:spLocks noGrp="1"/>
          </p:cNvSpPr>
          <p:nvPr>
            <p:ph sz="half" idx="1"/>
          </p:nvPr>
        </p:nvSpPr>
        <p:spPr>
          <a:xfrm>
            <a:off x="628651" y="2347783"/>
            <a:ext cx="3886200" cy="3829179"/>
          </a:xfrm>
        </p:spPr>
        <p:txBody>
          <a:bodyPr>
            <a:normAutofit/>
          </a:bodyPr>
          <a:lstStyle/>
          <a:p>
            <a:pPr algn="just"/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ovelizace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ve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myslu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egalizace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éčebného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se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ukázala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být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aprosto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nefunkční</a:t>
            </a:r>
            <a:endParaRPr lang="en-US" sz="1600" b="1" dirty="0" smtClean="0">
              <a:solidFill>
                <a:schemeClr val="tx1">
                  <a:lumMod val="75000"/>
                  <a:lumOff val="25000"/>
                </a:schemeClr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algn="just"/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ení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acientům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dostupné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b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</a:b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–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obracejí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se k </a:t>
            </a:r>
            <a:r>
              <a:rPr lang="en-US" sz="16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nelegálnímu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samo-pěstování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sz="16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či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černému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trhu</a:t>
            </a:r>
            <a:endParaRPr lang="en-US" sz="1600" b="1" dirty="0">
              <a:solidFill>
                <a:schemeClr val="tx1">
                  <a:lumMod val="75000"/>
                  <a:lumOff val="25000"/>
                </a:schemeClr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21" name="Content Placeholder 20"/>
          <p:cNvSpPr>
            <a:spLocks noGrp="1"/>
          </p:cNvSpPr>
          <p:nvPr>
            <p:ph sz="half" idx="2"/>
          </p:nvPr>
        </p:nvSpPr>
        <p:spPr>
          <a:xfrm>
            <a:off x="4629151" y="2347783"/>
            <a:ext cx="3886200" cy="3829180"/>
          </a:xfrm>
        </p:spPr>
        <p:txBody>
          <a:bodyPr>
            <a:normAutofit/>
          </a:bodyPr>
          <a:lstStyle/>
          <a:p>
            <a:pPr algn="just"/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Dospělí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občané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ČR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emají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možnost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i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vypěstovat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ani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jinak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opatřit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–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ostlinu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jež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zatím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eprojevila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významnější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toxické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vlastnosti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(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arozdíl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třeba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od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alkoholu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)</a:t>
            </a:r>
          </a:p>
          <a:p>
            <a:pPr algn="just"/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Tito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idé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jsou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ovněž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nuceni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jednat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protiprávně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–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amopěstovat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/>
            </a:r>
            <a:b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</a:b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či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ořídit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i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a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černém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trhu</a:t>
            </a:r>
            <a:endParaRPr lang="en-US" sz="1600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-47942" y="6319282"/>
            <a:ext cx="3086100" cy="365125"/>
          </a:xfrm>
        </p:spPr>
        <p:txBody>
          <a:bodyPr/>
          <a:lstStyle/>
          <a:p>
            <a:r>
              <a:rPr lang="en-US" sz="105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sz="105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sz="105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egální</a:t>
            </a:r>
            <a:r>
              <a:rPr lang="en-US" sz="105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a </a:t>
            </a:r>
            <a:r>
              <a:rPr lang="en-US" sz="105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egulované</a:t>
            </a:r>
            <a:endParaRPr lang="cs-CZ" sz="1050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32093" y="6331639"/>
            <a:ext cx="2057400" cy="365125"/>
          </a:xfrm>
        </p:spPr>
        <p:txBody>
          <a:bodyPr/>
          <a:lstStyle/>
          <a:p>
            <a:fld id="{79A700BF-2326-DB4F-8F72-13BDA6DF694D}" type="slidenum">
              <a:rPr lang="cs-CZ" sz="1050" smtClean="0"/>
              <a:pPr/>
              <a:t>3</a:t>
            </a:fld>
            <a:endParaRPr lang="cs-CZ" sz="1050" dirty="0"/>
          </a:p>
        </p:txBody>
      </p:sp>
    </p:spTree>
    <p:extLst>
      <p:ext uri="{BB962C8B-B14F-4D97-AF65-F5344CB8AC3E}">
        <p14:creationId xmlns="" xmlns:p14="http://schemas.microsoft.com/office/powerpoint/2010/main" val="14172999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1" y="323268"/>
            <a:ext cx="7886700" cy="504635"/>
          </a:xfrm>
        </p:spPr>
        <p:txBody>
          <a:bodyPr/>
          <a:lstStyle/>
          <a:p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aše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ředstava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egulace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amopěstování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22" name="Content Placeholder 21"/>
          <p:cNvSpPr>
            <a:spLocks noGrp="1"/>
          </p:cNvSpPr>
          <p:nvPr>
            <p:ph idx="1"/>
          </p:nvPr>
        </p:nvSpPr>
        <p:spPr>
          <a:xfrm>
            <a:off x="628651" y="1489589"/>
            <a:ext cx="7613306" cy="4651519"/>
          </a:xfrm>
        </p:spPr>
        <p:txBody>
          <a:bodyPr/>
          <a:lstStyle/>
          <a:p>
            <a:pPr algn="just"/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ozlišení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a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ekreační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uživatele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a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acienty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s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krétní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diagnózou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je </a:t>
            </a:r>
            <a:r>
              <a:rPr lang="en-US" sz="20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diskriminační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a </a:t>
            </a:r>
            <a:r>
              <a:rPr lang="en-US" sz="20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nefunkční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–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ejsme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chopni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osoudit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de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čí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ekreační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užití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a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začíná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éčebné</a:t>
            </a:r>
            <a:endParaRPr lang="en-US" sz="2000" dirty="0" smtClean="0"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algn="just"/>
            <a:r>
              <a:rPr lang="en-US" sz="20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Jednotný</a:t>
            </a:r>
            <a:r>
              <a:rPr lang="en-US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limit pro </a:t>
            </a:r>
            <a:r>
              <a:rPr lang="en-US" sz="20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všechny</a:t>
            </a:r>
            <a:r>
              <a:rPr lang="en-US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uživatele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–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voboda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volby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a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rvním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místě</a:t>
            </a:r>
            <a:endParaRPr lang="en-US" sz="2000" dirty="0" smtClean="0"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lvl="1" algn="just"/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Max. 20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ostlin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a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jednoho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člověka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taršího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18 let</a:t>
            </a:r>
          </a:p>
          <a:p>
            <a:pPr lvl="1" algn="just"/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Držení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max. 100 g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ušiny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či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20 g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ného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extraktu</a:t>
            </a:r>
            <a:endParaRPr lang="en-US" sz="2000" dirty="0" smtClean="0"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algn="just"/>
            <a:r>
              <a:rPr lang="en-US" sz="20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Konopné</a:t>
            </a:r>
            <a:r>
              <a:rPr lang="en-US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společenské</a:t>
            </a:r>
            <a:r>
              <a:rPr lang="en-US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kluby</a:t>
            </a: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–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říležitost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pro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budování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zdravé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né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munity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i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mezi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idmi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teří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ami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ěstovat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emohou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či</a:t>
            </a:r>
            <a:r>
              <a:rPr lang="en-US" sz="20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20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echtějí</a:t>
            </a:r>
            <a:endParaRPr lang="en-US" sz="2000" dirty="0" smtClean="0"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lvl="1"/>
            <a:endParaRPr lang="en-US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egáln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a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egulované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4</a:t>
            </a:fld>
            <a:endParaRPr lang="cs-CZ" dirty="0"/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25911" y="5372995"/>
            <a:ext cx="662923" cy="662923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992366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Object 3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="" xmlns:p14="http://schemas.microsoft.com/office/powerpoint/2010/main" val="36920497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8289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1" y="323268"/>
            <a:ext cx="7886700" cy="442851"/>
          </a:xfrm>
        </p:spPr>
        <p:txBody>
          <a:bodyPr/>
          <a:lstStyle/>
          <a:p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Chceme</a:t>
            </a:r>
            <a:r>
              <a:rPr lang="cs-CZ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egalizovat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a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egulovat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trh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s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m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egáln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a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egulované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grpSp>
        <p:nvGrpSpPr>
          <p:cNvPr id="15" name="Group 14"/>
          <p:cNvGrpSpPr/>
          <p:nvPr/>
        </p:nvGrpSpPr>
        <p:grpSpPr>
          <a:xfrm>
            <a:off x="3460364" y="1970529"/>
            <a:ext cx="2217600" cy="3599658"/>
            <a:chOff x="3461401" y="1970529"/>
            <a:chExt cx="2217600" cy="3599658"/>
          </a:xfrm>
        </p:grpSpPr>
        <p:sp>
          <p:nvSpPr>
            <p:cNvPr id="39" name="Rectangle 38"/>
            <p:cNvSpPr/>
            <p:nvPr/>
          </p:nvSpPr>
          <p:spPr>
            <a:xfrm>
              <a:off x="3461401" y="2347368"/>
              <a:ext cx="2217600" cy="322281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>
                <a:latin typeface="M+ 1c" pitchFamily="34" charset="-128"/>
                <a:ea typeface="M+ 1c" pitchFamily="34" charset="-128"/>
                <a:cs typeface="M+ 1c" pitchFamily="34" charset="-128"/>
              </a:endParaRPr>
            </a:p>
          </p:txBody>
        </p:sp>
        <p:sp>
          <p:nvSpPr>
            <p:cNvPr id="40" name="Rectangle 39"/>
            <p:cNvSpPr/>
            <p:nvPr/>
          </p:nvSpPr>
          <p:spPr>
            <a:xfrm>
              <a:off x="3526201" y="2627608"/>
              <a:ext cx="2088000" cy="324000"/>
            </a:xfrm>
            <a:prstGeom prst="rect">
              <a:avLst/>
            </a:prstGeom>
          </p:spPr>
          <p:txBody>
            <a:bodyPr lIns="0" tIns="0" rIns="0" bIns="0" anchor="ctr">
              <a:noAutofit/>
            </a:bodyPr>
            <a:lstStyle/>
            <a:p>
              <a:pPr algn="ctr" fontAlgn="t"/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Vymahatelný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zákaz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prodeje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mladistvým</a:t>
              </a:r>
              <a:endParaRPr lang="cs-CZ" sz="1200" dirty="0">
                <a:latin typeface="M+ 1c" pitchFamily="34" charset="-128"/>
                <a:ea typeface="M+ 1c" pitchFamily="34" charset="-128"/>
                <a:cs typeface="M+ 1c" pitchFamily="34" charset="-128"/>
              </a:endParaRPr>
            </a:p>
          </p:txBody>
        </p:sp>
        <p:sp>
          <p:nvSpPr>
            <p:cNvPr id="43" name="Rectangle 42"/>
            <p:cNvSpPr/>
            <p:nvPr/>
          </p:nvSpPr>
          <p:spPr>
            <a:xfrm>
              <a:off x="3526201" y="3314645"/>
              <a:ext cx="2088000" cy="324000"/>
            </a:xfrm>
            <a:prstGeom prst="rect">
              <a:avLst/>
            </a:prstGeom>
          </p:spPr>
          <p:txBody>
            <a:bodyPr wrap="square" lIns="0" tIns="0" rIns="0" bIns="0" anchor="ctr">
              <a:noAutofit/>
            </a:bodyPr>
            <a:lstStyle/>
            <a:p>
              <a:pPr algn="ctr" fontAlgn="t"/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Snížení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zisků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drogových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mafií</a:t>
              </a:r>
              <a:endParaRPr lang="cs-CZ" sz="1200" dirty="0">
                <a:latin typeface="M+ 1c" pitchFamily="34" charset="-128"/>
                <a:ea typeface="M+ 1c" pitchFamily="34" charset="-128"/>
                <a:cs typeface="M+ 1c" pitchFamily="34" charset="-128"/>
              </a:endParaRPr>
            </a:p>
          </p:txBody>
        </p:sp>
        <p:sp>
          <p:nvSpPr>
            <p:cNvPr id="44" name="Rectangle 43"/>
            <p:cNvSpPr/>
            <p:nvPr/>
          </p:nvSpPr>
          <p:spPr>
            <a:xfrm>
              <a:off x="3526201" y="3787894"/>
              <a:ext cx="2088000" cy="1463584"/>
            </a:xfrm>
            <a:prstGeom prst="rect">
              <a:avLst/>
            </a:prstGeom>
          </p:spPr>
          <p:txBody>
            <a:bodyPr wrap="square" lIns="0" tIns="0" rIns="0" bIns="0" anchor="ctr">
              <a:noAutofit/>
            </a:bodyPr>
            <a:lstStyle/>
            <a:p>
              <a:pPr algn="ctr" fontAlgn="t"/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Policie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nebude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muset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vynakládat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čas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ani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zdroje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na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perzekuci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samopěstitelů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/>
              </a:r>
              <a:b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</a:b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a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rekreačních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uživatelů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nepáchajících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žádnou</a:t>
              </a:r>
              <a:r>
                <a:rPr lang="en-US" sz="12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skutečně</a:t>
              </a:r>
              <a:r>
                <a:rPr lang="en-US" sz="12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negativní</a:t>
              </a:r>
              <a:r>
                <a:rPr lang="en-US" sz="12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kriminalitu</a:t>
              </a:r>
              <a:endParaRPr lang="cs-CZ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endParaRPr>
            </a:p>
          </p:txBody>
        </p:sp>
        <p:sp>
          <p:nvSpPr>
            <p:cNvPr id="55" name="Rectangle 54"/>
            <p:cNvSpPr/>
            <p:nvPr/>
          </p:nvSpPr>
          <p:spPr>
            <a:xfrm>
              <a:off x="3461401" y="1970529"/>
              <a:ext cx="2217600" cy="430629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</p:spPr>
          <p:txBody>
            <a:bodyPr wrap="square" lIns="0" tIns="0" rIns="0" bIns="0" anchor="ctr">
              <a:noAutofit/>
            </a:bodyPr>
            <a:lstStyle/>
            <a:p>
              <a:pPr algn="ctr" fontAlgn="t"/>
              <a:r>
                <a:rPr lang="en-US" sz="1200" b="1" dirty="0" err="1" smtClean="0">
                  <a:solidFill>
                    <a:schemeClr val="bg1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Prevence</a:t>
              </a:r>
              <a:r>
                <a:rPr lang="en-US" sz="1200" b="1" dirty="0" smtClean="0">
                  <a:solidFill>
                    <a:schemeClr val="bg1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b="1" dirty="0" err="1" smtClean="0">
                  <a:solidFill>
                    <a:schemeClr val="bg1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kriminality</a:t>
              </a:r>
              <a:r>
                <a:rPr lang="en-US" sz="1200" b="1" dirty="0" smtClean="0">
                  <a:solidFill>
                    <a:schemeClr val="bg1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:</a:t>
              </a:r>
              <a:endParaRPr lang="cs-CZ" sz="1200" b="1" dirty="0">
                <a:solidFill>
                  <a:schemeClr val="bg1"/>
                </a:solidFill>
                <a:latin typeface="M+ 1c" pitchFamily="34" charset="-128"/>
                <a:ea typeface="M+ 1c" pitchFamily="34" charset="-128"/>
                <a:cs typeface="M+ 1c" pitchFamily="34" charset="-128"/>
              </a:endParaRPr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628650" y="1970096"/>
            <a:ext cx="2217600" cy="2723665"/>
            <a:chOff x="628651" y="1970096"/>
            <a:chExt cx="2217600" cy="2723665"/>
          </a:xfrm>
        </p:grpSpPr>
        <p:sp>
          <p:nvSpPr>
            <p:cNvPr id="47" name="Rectangle 46"/>
            <p:cNvSpPr/>
            <p:nvPr/>
          </p:nvSpPr>
          <p:spPr>
            <a:xfrm>
              <a:off x="628651" y="2343650"/>
              <a:ext cx="2217600" cy="21961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>
                <a:latin typeface="M+ 1c" pitchFamily="34" charset="-128"/>
                <a:ea typeface="M+ 1c" pitchFamily="34" charset="-128"/>
                <a:cs typeface="M+ 1c" pitchFamily="34" charset="-128"/>
              </a:endParaRPr>
            </a:p>
          </p:txBody>
        </p:sp>
        <p:sp>
          <p:nvSpPr>
            <p:cNvPr id="48" name="Rectangle 47"/>
            <p:cNvSpPr/>
            <p:nvPr/>
          </p:nvSpPr>
          <p:spPr>
            <a:xfrm>
              <a:off x="693451" y="2710388"/>
              <a:ext cx="2088000" cy="324000"/>
            </a:xfrm>
            <a:prstGeom prst="rect">
              <a:avLst/>
            </a:prstGeom>
          </p:spPr>
          <p:txBody>
            <a:bodyPr wrap="square" lIns="0" tIns="0" rIns="0" bIns="0" anchor="ctr">
              <a:noAutofit/>
            </a:bodyPr>
            <a:lstStyle/>
            <a:p>
              <a:pPr algn="ctr" fontAlgn="t"/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Potenciálně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až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3 </a:t>
              </a:r>
              <a:r>
                <a:rPr lang="en-US" sz="12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miliardy</a:t>
              </a:r>
              <a:r>
                <a:rPr lang="en-US" sz="12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Kč</a:t>
              </a:r>
              <a:r>
                <a:rPr lang="en-US" sz="12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na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daních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endParaRPr lang="cs-CZ" sz="1200" dirty="0">
                <a:latin typeface="M+ 1c" pitchFamily="34" charset="-128"/>
                <a:ea typeface="M+ 1c" pitchFamily="34" charset="-128"/>
                <a:cs typeface="M+ 1c" pitchFamily="34" charset="-128"/>
              </a:endParaRPr>
            </a:p>
          </p:txBody>
        </p:sp>
        <p:sp>
          <p:nvSpPr>
            <p:cNvPr id="49" name="Rectangle 48"/>
            <p:cNvSpPr/>
            <p:nvPr/>
          </p:nvSpPr>
          <p:spPr>
            <a:xfrm>
              <a:off x="693451" y="3224427"/>
              <a:ext cx="2088000" cy="324000"/>
            </a:xfrm>
            <a:prstGeom prst="rect">
              <a:avLst/>
            </a:prstGeom>
          </p:spPr>
          <p:txBody>
            <a:bodyPr wrap="square" lIns="0" tIns="0" rIns="0" bIns="0" anchor="ctr">
              <a:noAutofit/>
            </a:bodyPr>
            <a:lstStyle/>
            <a:p>
              <a:pPr algn="ctr" fontAlgn="t"/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Nová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pracovní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místa</a:t>
              </a:r>
              <a:endParaRPr lang="cs-CZ" sz="1200" dirty="0">
                <a:latin typeface="M+ 1c" pitchFamily="34" charset="-128"/>
                <a:ea typeface="M+ 1c" pitchFamily="34" charset="-128"/>
                <a:cs typeface="M+ 1c" pitchFamily="34" charset="-128"/>
              </a:endParaRPr>
            </a:p>
          </p:txBody>
        </p:sp>
        <p:sp>
          <p:nvSpPr>
            <p:cNvPr id="50" name="Rectangle 49"/>
            <p:cNvSpPr/>
            <p:nvPr/>
          </p:nvSpPr>
          <p:spPr>
            <a:xfrm>
              <a:off x="693451" y="3787894"/>
              <a:ext cx="2088000" cy="324000"/>
            </a:xfrm>
            <a:prstGeom prst="rect">
              <a:avLst/>
            </a:prstGeom>
          </p:spPr>
          <p:txBody>
            <a:bodyPr wrap="square" lIns="0" tIns="0" rIns="0" bIns="0" anchor="ctr">
              <a:noAutofit/>
            </a:bodyPr>
            <a:lstStyle/>
            <a:p>
              <a:pPr algn="ctr" fontAlgn="t"/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Poplatky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z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koncesí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na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výrob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u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a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prodej</a:t>
              </a:r>
              <a:endParaRPr lang="cs-CZ" sz="1200" dirty="0">
                <a:latin typeface="M+ 1c" pitchFamily="34" charset="-128"/>
                <a:ea typeface="M+ 1c" pitchFamily="34" charset="-128"/>
                <a:cs typeface="M+ 1c" pitchFamily="34" charset="-128"/>
              </a:endParaRPr>
            </a:p>
          </p:txBody>
        </p:sp>
        <p:sp>
          <p:nvSpPr>
            <p:cNvPr id="51" name="Rectangle 50"/>
            <p:cNvSpPr/>
            <p:nvPr/>
          </p:nvSpPr>
          <p:spPr>
            <a:xfrm>
              <a:off x="693451" y="4017722"/>
              <a:ext cx="2088000" cy="324000"/>
            </a:xfrm>
            <a:prstGeom prst="rect">
              <a:avLst/>
            </a:prstGeom>
          </p:spPr>
          <p:txBody>
            <a:bodyPr wrap="square" lIns="0" tIns="0" rIns="0" bIns="0" anchor="ctr">
              <a:noAutofit/>
            </a:bodyPr>
            <a:lstStyle/>
            <a:p>
              <a:pPr algn="ctr" fontAlgn="t"/>
              <a:endParaRPr lang="cs-CZ" sz="1200" dirty="0">
                <a:latin typeface="M+ 1c" pitchFamily="34" charset="-128"/>
                <a:ea typeface="M+ 1c" pitchFamily="34" charset="-128"/>
                <a:cs typeface="M+ 1c" pitchFamily="34" charset="-128"/>
              </a:endParaRPr>
            </a:p>
          </p:txBody>
        </p:sp>
        <p:sp>
          <p:nvSpPr>
            <p:cNvPr id="53" name="Rectangle 52"/>
            <p:cNvSpPr/>
            <p:nvPr/>
          </p:nvSpPr>
          <p:spPr>
            <a:xfrm>
              <a:off x="693451" y="4509095"/>
              <a:ext cx="2088000" cy="184666"/>
            </a:xfrm>
            <a:prstGeom prst="rect">
              <a:avLst/>
            </a:prstGeom>
          </p:spPr>
          <p:txBody>
            <a:bodyPr lIns="0" tIns="0" rIns="0" bIns="0" anchor="ctr">
              <a:spAutoFit/>
            </a:bodyPr>
            <a:lstStyle/>
            <a:p>
              <a:pPr algn="ctr" fontAlgn="t"/>
              <a:endParaRPr lang="cs-CZ" sz="1200" dirty="0">
                <a:latin typeface="M+ 1c" pitchFamily="34" charset="-128"/>
                <a:ea typeface="M+ 1c" pitchFamily="34" charset="-128"/>
                <a:cs typeface="M+ 1c" pitchFamily="34" charset="-128"/>
              </a:endParaRPr>
            </a:p>
          </p:txBody>
        </p:sp>
        <p:sp>
          <p:nvSpPr>
            <p:cNvPr id="56" name="Rectangle 55"/>
            <p:cNvSpPr/>
            <p:nvPr/>
          </p:nvSpPr>
          <p:spPr>
            <a:xfrm>
              <a:off x="628651" y="1970096"/>
              <a:ext cx="2217600" cy="405712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</p:spPr>
          <p:txBody>
            <a:bodyPr wrap="none" lIns="0" tIns="0" rIns="0" bIns="0" anchor="ctr">
              <a:noAutofit/>
            </a:bodyPr>
            <a:lstStyle/>
            <a:p>
              <a:pPr algn="ctr" fontAlgn="t"/>
              <a:r>
                <a:rPr lang="en-US" sz="1200" b="1" dirty="0" err="1" smtClean="0">
                  <a:solidFill>
                    <a:schemeClr val="bg1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Zdanění</a:t>
              </a:r>
              <a:r>
                <a:rPr lang="en-US" sz="1200" b="1" dirty="0" smtClean="0">
                  <a:solidFill>
                    <a:schemeClr val="bg1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b="1" dirty="0" err="1" smtClean="0">
                  <a:solidFill>
                    <a:schemeClr val="bg1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přinese</a:t>
              </a:r>
              <a:r>
                <a:rPr lang="en-US" sz="1200" b="1" dirty="0" smtClean="0">
                  <a:solidFill>
                    <a:schemeClr val="bg1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:</a:t>
              </a:r>
              <a:endParaRPr lang="cs-CZ" sz="1200" b="1" dirty="0">
                <a:solidFill>
                  <a:schemeClr val="bg1"/>
                </a:solidFill>
                <a:latin typeface="M+ 1c" pitchFamily="34" charset="-128"/>
                <a:ea typeface="M+ 1c" pitchFamily="34" charset="-128"/>
                <a:cs typeface="M+ 1c" pitchFamily="34" charset="-128"/>
              </a:endParaRPr>
            </a:p>
          </p:txBody>
        </p:sp>
      </p:grpSp>
      <p:cxnSp>
        <p:nvCxnSpPr>
          <p:cNvPr id="34" name="Straight Connector 33"/>
          <p:cNvCxnSpPr/>
          <p:nvPr/>
        </p:nvCxnSpPr>
        <p:spPr>
          <a:xfrm>
            <a:off x="628651" y="1664166"/>
            <a:ext cx="7886700" cy="1588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" name="Group 13"/>
          <p:cNvGrpSpPr/>
          <p:nvPr/>
        </p:nvGrpSpPr>
        <p:grpSpPr>
          <a:xfrm>
            <a:off x="6292078" y="1970096"/>
            <a:ext cx="2223273" cy="3628834"/>
            <a:chOff x="6159313" y="1944745"/>
            <a:chExt cx="2223273" cy="3628834"/>
          </a:xfrm>
        </p:grpSpPr>
        <p:sp>
          <p:nvSpPr>
            <p:cNvPr id="22" name="Rectangle 21"/>
            <p:cNvSpPr/>
            <p:nvPr/>
          </p:nvSpPr>
          <p:spPr>
            <a:xfrm>
              <a:off x="6161386" y="2350760"/>
              <a:ext cx="2221200" cy="322281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  <p:sp>
          <p:nvSpPr>
            <p:cNvPr id="23" name="Rectangle 22"/>
            <p:cNvSpPr/>
            <p:nvPr/>
          </p:nvSpPr>
          <p:spPr>
            <a:xfrm>
              <a:off x="6226291" y="2636574"/>
              <a:ext cx="2091390" cy="701147"/>
            </a:xfrm>
            <a:prstGeom prst="rect">
              <a:avLst/>
            </a:prstGeom>
          </p:spPr>
          <p:txBody>
            <a:bodyPr wrap="square" lIns="0" tIns="0" rIns="0" bIns="0">
              <a:noAutofit/>
            </a:bodyPr>
            <a:lstStyle/>
            <a:p>
              <a:pPr algn="ctr" fontAlgn="t"/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Možnost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si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za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své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peníze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dirty="0" err="1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koupit</a:t>
              </a:r>
              <a:r>
                <a:rPr lang="en-US" sz="1200" dirty="0" smtClean="0">
                  <a:solidFill>
                    <a:srgbClr val="000000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nezávadný</a:t>
              </a:r>
              <a:r>
                <a:rPr lang="en-US" sz="12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a </a:t>
              </a:r>
              <a:r>
                <a:rPr lang="en-US" sz="12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zdaněný</a:t>
              </a:r>
              <a:r>
                <a:rPr lang="en-US" sz="12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produkt</a:t>
              </a:r>
              <a:endParaRPr lang="cs-CZ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endParaRPr>
            </a:p>
            <a:p>
              <a:pPr algn="ctr" fontAlgn="t"/>
              <a:endParaRPr lang="cs-CZ" sz="1200" dirty="0" smtClean="0">
                <a:solidFill>
                  <a:srgbClr val="000000"/>
                </a:solidFill>
              </a:endParaRPr>
            </a:p>
            <a:p>
              <a:pPr algn="ctr" fontAlgn="t"/>
              <a:endParaRPr lang="cs-CZ" sz="1200" dirty="0" smtClean="0">
                <a:solidFill>
                  <a:srgbClr val="000000"/>
                </a:solidFill>
              </a:endParaRPr>
            </a:p>
            <a:p>
              <a:pPr algn="ctr" fontAlgn="t"/>
              <a:endParaRPr lang="cs-CZ" sz="1200" dirty="0" smtClean="0">
                <a:solidFill>
                  <a:srgbClr val="000000"/>
                </a:solidFill>
              </a:endParaRPr>
            </a:p>
            <a:p>
              <a:pPr algn="ctr" fontAlgn="t"/>
              <a:endParaRPr lang="cs-CZ" sz="1200" dirty="0">
                <a:solidFill>
                  <a:srgbClr val="000000"/>
                </a:solidFill>
              </a:endParaRPr>
            </a:p>
            <a:p>
              <a:pPr algn="ctr" fontAlgn="t"/>
              <a:endParaRPr lang="cs-CZ" sz="1200" dirty="0" smtClean="0">
                <a:solidFill>
                  <a:srgbClr val="000000"/>
                </a:solidFill>
              </a:endParaRPr>
            </a:p>
            <a:p>
              <a:pPr algn="ctr" fontAlgn="t"/>
              <a:endParaRPr lang="cs-CZ" sz="12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24" name="Rectangle 23"/>
            <p:cNvSpPr/>
            <p:nvPr/>
          </p:nvSpPr>
          <p:spPr>
            <a:xfrm>
              <a:off x="6159313" y="1944745"/>
              <a:ext cx="2221200" cy="431063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</p:spPr>
          <p:txBody>
            <a:bodyPr wrap="square" lIns="0" tIns="0" rIns="0" bIns="0" anchor="ctr">
              <a:noAutofit/>
            </a:bodyPr>
            <a:lstStyle/>
            <a:p>
              <a:pPr algn="ctr" fontAlgn="t"/>
              <a:r>
                <a:rPr lang="en-US" sz="1200" b="1" dirty="0" err="1" smtClean="0">
                  <a:solidFill>
                    <a:schemeClr val="bg1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Rozšíření</a:t>
              </a:r>
              <a:r>
                <a:rPr lang="en-US" sz="1200" b="1" dirty="0" smtClean="0">
                  <a:solidFill>
                    <a:schemeClr val="bg1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b="1" dirty="0" err="1" smtClean="0">
                  <a:solidFill>
                    <a:schemeClr val="bg1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svobody</a:t>
              </a:r>
              <a:r>
                <a:rPr lang="en-US" sz="1200" b="1" dirty="0" smtClean="0">
                  <a:solidFill>
                    <a:schemeClr val="bg1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/>
              </a:r>
              <a:br>
                <a:rPr lang="en-US" sz="1200" b="1" dirty="0" smtClean="0">
                  <a:solidFill>
                    <a:schemeClr val="bg1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</a:br>
              <a:r>
                <a:rPr lang="en-US" sz="1200" b="1" dirty="0" err="1" smtClean="0">
                  <a:solidFill>
                    <a:schemeClr val="bg1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dospělých</a:t>
              </a:r>
              <a:r>
                <a:rPr lang="en-US" sz="1200" b="1" dirty="0" smtClean="0">
                  <a:solidFill>
                    <a:schemeClr val="bg1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</a:t>
              </a:r>
              <a:r>
                <a:rPr lang="en-US" sz="1200" b="1" dirty="0" err="1" smtClean="0">
                  <a:solidFill>
                    <a:schemeClr val="bg1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občanů</a:t>
              </a:r>
              <a:r>
                <a:rPr lang="en-US" sz="1200" b="1" dirty="0" smtClean="0">
                  <a:solidFill>
                    <a:schemeClr val="bg1"/>
                  </a:solidFill>
                  <a:latin typeface="M+ 1c" pitchFamily="34" charset="-128"/>
                  <a:ea typeface="M+ 1c" pitchFamily="34" charset="-128"/>
                  <a:cs typeface="M+ 1c" pitchFamily="34" charset="-128"/>
                </a:rPr>
                <a:t> ČR:</a:t>
              </a:r>
              <a:endParaRPr lang="cs-CZ" sz="1200" b="1" dirty="0">
                <a:solidFill>
                  <a:schemeClr val="bg1"/>
                </a:solidFill>
                <a:latin typeface="M+ 1c" pitchFamily="34" charset="-128"/>
                <a:ea typeface="M+ 1c" pitchFamily="34" charset="-128"/>
                <a:cs typeface="M+ 1c" pitchFamily="34" charset="-128"/>
              </a:endParaRPr>
            </a:p>
          </p:txBody>
        </p:sp>
      </p:grpSp>
      <p:sp>
        <p:nvSpPr>
          <p:cNvPr id="54" name="Rectangle 53"/>
          <p:cNvSpPr/>
          <p:nvPr/>
        </p:nvSpPr>
        <p:spPr>
          <a:xfrm>
            <a:off x="6359056" y="3566433"/>
            <a:ext cx="2091390" cy="701147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algn="ctr" fontAlgn="t"/>
            <a:r>
              <a:rPr lang="en-US" sz="1200" dirty="0" err="1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Zvýšení</a:t>
            </a:r>
            <a:r>
              <a:rPr lang="en-US" sz="1200" dirty="0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dostupnosti</a:t>
            </a:r>
            <a:r>
              <a:rPr lang="en-US" sz="1200" dirty="0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pro </a:t>
            </a:r>
            <a:r>
              <a:rPr lang="en-US" sz="12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potřebné</a:t>
            </a:r>
            <a:r>
              <a:rPr 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dirty="0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– </a:t>
            </a:r>
            <a:r>
              <a:rPr lang="en-US" sz="1200" dirty="0" err="1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na</a:t>
            </a:r>
            <a:r>
              <a:rPr lang="en-US" sz="1200" dirty="0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některé</a:t>
            </a:r>
            <a:r>
              <a:rPr lang="en-US" sz="1200" dirty="0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diagnózy</a:t>
            </a:r>
            <a:r>
              <a:rPr lang="en-US" sz="1200" dirty="0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sz="1200" dirty="0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indikováno</a:t>
            </a:r>
            <a:r>
              <a:rPr lang="en-US" sz="1200" dirty="0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není</a:t>
            </a:r>
            <a:r>
              <a:rPr lang="en-US" sz="1200" dirty="0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či</a:t>
            </a:r>
            <a:r>
              <a:rPr lang="en-US" sz="1200" dirty="0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ani</a:t>
            </a:r>
            <a:r>
              <a:rPr lang="en-US" sz="1200" dirty="0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nebude</a:t>
            </a:r>
            <a:endParaRPr lang="cs-CZ" sz="1200" dirty="0" smtClean="0">
              <a:solidFill>
                <a:srgbClr val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algn="ctr" fontAlgn="t"/>
            <a:endParaRPr lang="cs-CZ" sz="1200" dirty="0" smtClean="0">
              <a:solidFill>
                <a:srgbClr val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algn="ctr" fontAlgn="t"/>
            <a:endParaRPr lang="cs-CZ" sz="1200" dirty="0" smtClean="0">
              <a:solidFill>
                <a:srgbClr val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algn="ctr" fontAlgn="t"/>
            <a:endParaRPr lang="cs-CZ" sz="1200" dirty="0" smtClean="0">
              <a:solidFill>
                <a:srgbClr val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algn="ctr" fontAlgn="t"/>
            <a:endParaRPr lang="cs-CZ" sz="1200" dirty="0">
              <a:solidFill>
                <a:srgbClr val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algn="ctr" fontAlgn="t"/>
            <a:endParaRPr lang="cs-CZ" sz="1200" dirty="0" smtClean="0">
              <a:solidFill>
                <a:srgbClr val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algn="ctr" fontAlgn="t"/>
            <a:endParaRPr lang="cs-CZ" sz="1200" dirty="0" smtClean="0">
              <a:solidFill>
                <a:srgbClr val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58" name="Rectangle 57"/>
          <p:cNvSpPr/>
          <p:nvPr/>
        </p:nvSpPr>
        <p:spPr>
          <a:xfrm>
            <a:off x="6359056" y="4550331"/>
            <a:ext cx="2091390" cy="701147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algn="ctr" fontAlgn="t"/>
            <a:r>
              <a:rPr lang="en-US" sz="1200" dirty="0" err="1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Efektivní</a:t>
            </a:r>
            <a:r>
              <a:rPr lang="en-US" sz="1200" dirty="0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kontrola</a:t>
            </a:r>
            <a:r>
              <a:rPr 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kvality</a:t>
            </a:r>
            <a:r>
              <a:rPr 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/>
            </a:r>
            <a:br>
              <a:rPr 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</a:br>
            <a:r>
              <a:rPr lang="en-US" sz="1200" dirty="0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– </a:t>
            </a:r>
            <a:r>
              <a:rPr lang="en-US" sz="1200" dirty="0" err="1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elementární</a:t>
            </a:r>
            <a:r>
              <a:rPr lang="en-US" sz="1200" dirty="0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základ</a:t>
            </a:r>
            <a:r>
              <a:rPr lang="en-US" sz="1200" dirty="0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ochrany</a:t>
            </a:r>
            <a:r>
              <a:rPr lang="en-US" sz="1200" dirty="0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spotřebitele</a:t>
            </a:r>
            <a:r>
              <a:rPr lang="en-US" sz="1200" dirty="0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v </a:t>
            </a:r>
            <a:r>
              <a:rPr lang="en-US" sz="1200" dirty="0" err="1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civilizovaném</a:t>
            </a:r>
            <a:r>
              <a:rPr lang="en-US" sz="1200" dirty="0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světě</a:t>
            </a:r>
            <a:endParaRPr lang="cs-CZ" sz="1200" dirty="0" smtClean="0">
              <a:solidFill>
                <a:srgbClr val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algn="ctr" fontAlgn="t"/>
            <a:endParaRPr lang="cs-CZ" sz="1200" dirty="0" smtClean="0">
              <a:solidFill>
                <a:srgbClr val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algn="ctr" fontAlgn="t"/>
            <a:endParaRPr lang="cs-CZ" sz="1200" dirty="0" smtClean="0">
              <a:solidFill>
                <a:srgbClr val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algn="ctr" fontAlgn="t"/>
            <a:endParaRPr lang="cs-CZ" sz="1200" dirty="0" smtClean="0">
              <a:solidFill>
                <a:srgbClr val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algn="ctr" fontAlgn="t"/>
            <a:endParaRPr lang="cs-CZ" sz="1200" dirty="0">
              <a:solidFill>
                <a:srgbClr val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algn="ctr" fontAlgn="t"/>
            <a:endParaRPr lang="cs-CZ" sz="1200" dirty="0" smtClean="0">
              <a:solidFill>
                <a:srgbClr val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algn="ctr" fontAlgn="t"/>
            <a:endParaRPr lang="cs-CZ" sz="1200" dirty="0" smtClean="0">
              <a:solidFill>
                <a:srgbClr val="000000"/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60" name="Rectangle 59"/>
          <p:cNvSpPr/>
          <p:nvPr/>
        </p:nvSpPr>
        <p:spPr>
          <a:xfrm>
            <a:off x="3834169" y="1521294"/>
            <a:ext cx="1461154" cy="28891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400" dirty="0">
                <a:solidFill>
                  <a:schemeClr val="tx1"/>
                </a:solidFill>
              </a:rPr>
              <a:t>Po reformě</a:t>
            </a:r>
          </a:p>
        </p:txBody>
      </p:sp>
      <p:pic>
        <p:nvPicPr>
          <p:cNvPr id="61" name="Picture 6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44613" y="1374094"/>
            <a:ext cx="397966" cy="397966"/>
          </a:xfrm>
          <a:prstGeom prst="rect">
            <a:avLst/>
          </a:prstGeom>
          <a:ln w="25400">
            <a:noFill/>
          </a:ln>
        </p:spPr>
      </p:pic>
      <p:sp>
        <p:nvSpPr>
          <p:cNvPr id="63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1" y="6283425"/>
            <a:ext cx="2057400" cy="365125"/>
          </a:xfrm>
        </p:spPr>
        <p:txBody>
          <a:bodyPr/>
          <a:lstStyle/>
          <a:p>
            <a:fld id="{79A700BF-2326-DB4F-8F72-13BDA6DF694D}" type="slidenum">
              <a:rPr lang="cs-CZ" smtClean="0"/>
              <a:pPr/>
              <a:t>5</a:t>
            </a:fld>
            <a:endParaRPr lang="cs-CZ" dirty="0"/>
          </a:p>
        </p:txBody>
      </p:sp>
    </p:spTree>
    <p:extLst>
      <p:ext uri="{BB962C8B-B14F-4D97-AF65-F5344CB8AC3E}">
        <p14:creationId xmlns="" xmlns:p14="http://schemas.microsoft.com/office/powerpoint/2010/main" val="17950770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9" name="Straight Connector 68"/>
          <p:cNvCxnSpPr/>
          <p:nvPr/>
        </p:nvCxnSpPr>
        <p:spPr>
          <a:xfrm>
            <a:off x="628651" y="1664166"/>
            <a:ext cx="7886700" cy="1588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/>
          <p:cNvSpPr txBox="1"/>
          <p:nvPr/>
        </p:nvSpPr>
        <p:spPr>
          <a:xfrm>
            <a:off x="1317140" y="5079058"/>
            <a:ext cx="1266077" cy="1241438"/>
          </a:xfrm>
          <a:prstGeom prst="ellipse">
            <a:avLst/>
          </a:prstGeom>
          <a:solidFill>
            <a:schemeClr val="bg2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4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Max. 100 g </a:t>
            </a:r>
            <a:r>
              <a:rPr lang="en-US" sz="14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ušiny</a:t>
            </a:r>
            <a:r>
              <a:rPr lang="en-US" sz="14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4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ebo</a:t>
            </a:r>
            <a:r>
              <a:rPr lang="en-US" sz="14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20 g </a:t>
            </a:r>
            <a:r>
              <a:rPr lang="en-US" sz="14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extraktu</a:t>
            </a:r>
            <a:endParaRPr lang="cs-CZ" sz="1400" b="1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23268"/>
            <a:ext cx="7886701" cy="934884"/>
          </a:xfrm>
        </p:spPr>
        <p:txBody>
          <a:bodyPr/>
          <a:lstStyle/>
          <a:p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ystém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dovolujíc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uživatelům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operovat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egálně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a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základě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osobních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referencí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egáln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a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egulované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240163" y="5177511"/>
            <a:ext cx="1170686" cy="1147903"/>
          </a:xfrm>
          <a:prstGeom prst="ellipse">
            <a:avLst/>
          </a:prstGeom>
          <a:solidFill>
            <a:schemeClr val="bg2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4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Max. 20 </a:t>
            </a:r>
            <a:r>
              <a:rPr lang="en-US" sz="14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ostlin</a:t>
            </a:r>
            <a:endParaRPr lang="cs-CZ" sz="1400" b="1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52" name="Freeform 14"/>
          <p:cNvSpPr>
            <a:spLocks noEditPoints="1"/>
          </p:cNvSpPr>
          <p:nvPr/>
        </p:nvSpPr>
        <p:spPr bwMode="auto">
          <a:xfrm flipH="1">
            <a:off x="758506" y="3357000"/>
            <a:ext cx="866580" cy="2218712"/>
          </a:xfrm>
          <a:custGeom>
            <a:avLst/>
            <a:gdLst/>
            <a:ahLst/>
            <a:cxnLst>
              <a:cxn ang="0">
                <a:pos x="498" y="360"/>
              </a:cxn>
              <a:cxn ang="0">
                <a:pos x="484" y="266"/>
              </a:cxn>
              <a:cxn ang="0">
                <a:pos x="430" y="212"/>
              </a:cxn>
              <a:cxn ang="0">
                <a:pos x="342" y="172"/>
              </a:cxn>
              <a:cxn ang="0">
                <a:pos x="332" y="110"/>
              </a:cxn>
              <a:cxn ang="0">
                <a:pos x="338" y="68"/>
              </a:cxn>
              <a:cxn ang="0">
                <a:pos x="300" y="8"/>
              </a:cxn>
              <a:cxn ang="0">
                <a:pos x="212" y="36"/>
              </a:cxn>
              <a:cxn ang="0">
                <a:pos x="206" y="94"/>
              </a:cxn>
              <a:cxn ang="0">
                <a:pos x="234" y="156"/>
              </a:cxn>
              <a:cxn ang="0">
                <a:pos x="212" y="198"/>
              </a:cxn>
              <a:cxn ang="0">
                <a:pos x="114" y="236"/>
              </a:cxn>
              <a:cxn ang="0">
                <a:pos x="96" y="354"/>
              </a:cxn>
              <a:cxn ang="0">
                <a:pos x="80" y="464"/>
              </a:cxn>
              <a:cxn ang="0">
                <a:pos x="66" y="624"/>
              </a:cxn>
              <a:cxn ang="0">
                <a:pos x="74" y="688"/>
              </a:cxn>
              <a:cxn ang="0">
                <a:pos x="76" y="744"/>
              </a:cxn>
              <a:cxn ang="0">
                <a:pos x="58" y="802"/>
              </a:cxn>
              <a:cxn ang="0">
                <a:pos x="40" y="822"/>
              </a:cxn>
              <a:cxn ang="0">
                <a:pos x="22" y="860"/>
              </a:cxn>
              <a:cxn ang="0">
                <a:pos x="8" y="908"/>
              </a:cxn>
              <a:cxn ang="0">
                <a:pos x="16" y="1034"/>
              </a:cxn>
              <a:cxn ang="0">
                <a:pos x="30" y="1038"/>
              </a:cxn>
              <a:cxn ang="0">
                <a:pos x="76" y="1050"/>
              </a:cxn>
              <a:cxn ang="0">
                <a:pos x="76" y="1076"/>
              </a:cxn>
              <a:cxn ang="0">
                <a:pos x="86" y="1140"/>
              </a:cxn>
              <a:cxn ang="0">
                <a:pos x="80" y="1172"/>
              </a:cxn>
              <a:cxn ang="0">
                <a:pos x="92" y="1204"/>
              </a:cxn>
              <a:cxn ang="0">
                <a:pos x="82" y="1232"/>
              </a:cxn>
              <a:cxn ang="0">
                <a:pos x="64" y="1266"/>
              </a:cxn>
              <a:cxn ang="0">
                <a:pos x="34" y="1288"/>
              </a:cxn>
              <a:cxn ang="0">
                <a:pos x="44" y="1312"/>
              </a:cxn>
              <a:cxn ang="0">
                <a:pos x="162" y="1296"/>
              </a:cxn>
              <a:cxn ang="0">
                <a:pos x="180" y="1262"/>
              </a:cxn>
              <a:cxn ang="0">
                <a:pos x="216" y="1162"/>
              </a:cxn>
              <a:cxn ang="0">
                <a:pos x="270" y="860"/>
              </a:cxn>
              <a:cxn ang="0">
                <a:pos x="296" y="962"/>
              </a:cxn>
              <a:cxn ang="0">
                <a:pos x="296" y="1112"/>
              </a:cxn>
              <a:cxn ang="0">
                <a:pos x="284" y="1244"/>
              </a:cxn>
              <a:cxn ang="0">
                <a:pos x="304" y="1286"/>
              </a:cxn>
              <a:cxn ang="0">
                <a:pos x="322" y="1308"/>
              </a:cxn>
              <a:cxn ang="0">
                <a:pos x="392" y="1300"/>
              </a:cxn>
              <a:cxn ang="0">
                <a:pos x="380" y="1258"/>
              </a:cxn>
              <a:cxn ang="0">
                <a:pos x="394" y="1192"/>
              </a:cxn>
              <a:cxn ang="0">
                <a:pos x="434" y="886"/>
              </a:cxn>
              <a:cxn ang="0">
                <a:pos x="450" y="680"/>
              </a:cxn>
              <a:cxn ang="0">
                <a:pos x="476" y="658"/>
              </a:cxn>
              <a:cxn ang="0">
                <a:pos x="502" y="606"/>
              </a:cxn>
              <a:cxn ang="0">
                <a:pos x="514" y="512"/>
              </a:cxn>
              <a:cxn ang="0">
                <a:pos x="112" y="732"/>
              </a:cxn>
              <a:cxn ang="0">
                <a:pos x="106" y="742"/>
              </a:cxn>
              <a:cxn ang="0">
                <a:pos x="90" y="800"/>
              </a:cxn>
              <a:cxn ang="0">
                <a:pos x="100" y="768"/>
              </a:cxn>
              <a:cxn ang="0">
                <a:pos x="102" y="1190"/>
              </a:cxn>
              <a:cxn ang="0">
                <a:pos x="118" y="790"/>
              </a:cxn>
              <a:cxn ang="0">
                <a:pos x="114" y="760"/>
              </a:cxn>
              <a:cxn ang="0">
                <a:pos x="112" y="746"/>
              </a:cxn>
              <a:cxn ang="0">
                <a:pos x="128" y="742"/>
              </a:cxn>
              <a:cxn ang="0">
                <a:pos x="136" y="690"/>
              </a:cxn>
              <a:cxn ang="0">
                <a:pos x="120" y="682"/>
              </a:cxn>
              <a:cxn ang="0">
                <a:pos x="134" y="636"/>
              </a:cxn>
            </a:cxnLst>
            <a:rect l="0" t="0" r="r" b="b"/>
            <a:pathLst>
              <a:path w="514" h="1316">
                <a:moveTo>
                  <a:pt x="514" y="502"/>
                </a:moveTo>
                <a:lnTo>
                  <a:pt x="514" y="502"/>
                </a:lnTo>
                <a:lnTo>
                  <a:pt x="514" y="484"/>
                </a:lnTo>
                <a:lnTo>
                  <a:pt x="514" y="484"/>
                </a:lnTo>
                <a:lnTo>
                  <a:pt x="512" y="466"/>
                </a:lnTo>
                <a:lnTo>
                  <a:pt x="512" y="466"/>
                </a:lnTo>
                <a:lnTo>
                  <a:pt x="510" y="438"/>
                </a:lnTo>
                <a:lnTo>
                  <a:pt x="510" y="438"/>
                </a:lnTo>
                <a:lnTo>
                  <a:pt x="506" y="412"/>
                </a:lnTo>
                <a:lnTo>
                  <a:pt x="506" y="412"/>
                </a:lnTo>
                <a:lnTo>
                  <a:pt x="502" y="392"/>
                </a:lnTo>
                <a:lnTo>
                  <a:pt x="502" y="392"/>
                </a:lnTo>
                <a:lnTo>
                  <a:pt x="502" y="380"/>
                </a:lnTo>
                <a:lnTo>
                  <a:pt x="502" y="380"/>
                </a:lnTo>
                <a:lnTo>
                  <a:pt x="500" y="368"/>
                </a:lnTo>
                <a:lnTo>
                  <a:pt x="500" y="368"/>
                </a:lnTo>
                <a:lnTo>
                  <a:pt x="498" y="360"/>
                </a:lnTo>
                <a:lnTo>
                  <a:pt x="498" y="360"/>
                </a:lnTo>
                <a:lnTo>
                  <a:pt x="492" y="346"/>
                </a:lnTo>
                <a:lnTo>
                  <a:pt x="492" y="346"/>
                </a:lnTo>
                <a:lnTo>
                  <a:pt x="494" y="344"/>
                </a:lnTo>
                <a:lnTo>
                  <a:pt x="494" y="338"/>
                </a:lnTo>
                <a:lnTo>
                  <a:pt x="494" y="338"/>
                </a:lnTo>
                <a:lnTo>
                  <a:pt x="492" y="324"/>
                </a:lnTo>
                <a:lnTo>
                  <a:pt x="492" y="324"/>
                </a:lnTo>
                <a:lnTo>
                  <a:pt x="490" y="314"/>
                </a:lnTo>
                <a:lnTo>
                  <a:pt x="490" y="314"/>
                </a:lnTo>
                <a:lnTo>
                  <a:pt x="490" y="310"/>
                </a:lnTo>
                <a:lnTo>
                  <a:pt x="490" y="310"/>
                </a:lnTo>
                <a:lnTo>
                  <a:pt x="488" y="296"/>
                </a:lnTo>
                <a:lnTo>
                  <a:pt x="488" y="296"/>
                </a:lnTo>
                <a:lnTo>
                  <a:pt x="484" y="284"/>
                </a:lnTo>
                <a:lnTo>
                  <a:pt x="484" y="284"/>
                </a:lnTo>
                <a:lnTo>
                  <a:pt x="482" y="278"/>
                </a:lnTo>
                <a:lnTo>
                  <a:pt x="482" y="278"/>
                </a:lnTo>
                <a:lnTo>
                  <a:pt x="484" y="266"/>
                </a:lnTo>
                <a:lnTo>
                  <a:pt x="484" y="266"/>
                </a:lnTo>
                <a:lnTo>
                  <a:pt x="484" y="252"/>
                </a:lnTo>
                <a:lnTo>
                  <a:pt x="484" y="252"/>
                </a:lnTo>
                <a:lnTo>
                  <a:pt x="482" y="236"/>
                </a:lnTo>
                <a:lnTo>
                  <a:pt x="482" y="236"/>
                </a:lnTo>
                <a:lnTo>
                  <a:pt x="480" y="230"/>
                </a:lnTo>
                <a:lnTo>
                  <a:pt x="476" y="226"/>
                </a:lnTo>
                <a:lnTo>
                  <a:pt x="476" y="226"/>
                </a:lnTo>
                <a:lnTo>
                  <a:pt x="472" y="226"/>
                </a:lnTo>
                <a:lnTo>
                  <a:pt x="472" y="226"/>
                </a:lnTo>
                <a:lnTo>
                  <a:pt x="472" y="224"/>
                </a:lnTo>
                <a:lnTo>
                  <a:pt x="466" y="222"/>
                </a:lnTo>
                <a:lnTo>
                  <a:pt x="466" y="222"/>
                </a:lnTo>
                <a:lnTo>
                  <a:pt x="450" y="218"/>
                </a:lnTo>
                <a:lnTo>
                  <a:pt x="450" y="218"/>
                </a:lnTo>
                <a:lnTo>
                  <a:pt x="442" y="216"/>
                </a:lnTo>
                <a:lnTo>
                  <a:pt x="442" y="216"/>
                </a:lnTo>
                <a:lnTo>
                  <a:pt x="430" y="212"/>
                </a:lnTo>
                <a:lnTo>
                  <a:pt x="430" y="212"/>
                </a:lnTo>
                <a:lnTo>
                  <a:pt x="418" y="208"/>
                </a:lnTo>
                <a:lnTo>
                  <a:pt x="418" y="208"/>
                </a:lnTo>
                <a:lnTo>
                  <a:pt x="402" y="204"/>
                </a:lnTo>
                <a:lnTo>
                  <a:pt x="402" y="204"/>
                </a:lnTo>
                <a:lnTo>
                  <a:pt x="380" y="194"/>
                </a:lnTo>
                <a:lnTo>
                  <a:pt x="380" y="194"/>
                </a:lnTo>
                <a:lnTo>
                  <a:pt x="366" y="190"/>
                </a:lnTo>
                <a:lnTo>
                  <a:pt x="366" y="190"/>
                </a:lnTo>
                <a:lnTo>
                  <a:pt x="358" y="188"/>
                </a:lnTo>
                <a:lnTo>
                  <a:pt x="358" y="188"/>
                </a:lnTo>
                <a:lnTo>
                  <a:pt x="352" y="184"/>
                </a:lnTo>
                <a:lnTo>
                  <a:pt x="352" y="184"/>
                </a:lnTo>
                <a:lnTo>
                  <a:pt x="348" y="182"/>
                </a:lnTo>
                <a:lnTo>
                  <a:pt x="346" y="178"/>
                </a:lnTo>
                <a:lnTo>
                  <a:pt x="346" y="178"/>
                </a:lnTo>
                <a:lnTo>
                  <a:pt x="342" y="172"/>
                </a:lnTo>
                <a:lnTo>
                  <a:pt x="342" y="172"/>
                </a:lnTo>
                <a:lnTo>
                  <a:pt x="336" y="168"/>
                </a:lnTo>
                <a:lnTo>
                  <a:pt x="336" y="168"/>
                </a:lnTo>
                <a:lnTo>
                  <a:pt x="336" y="166"/>
                </a:lnTo>
                <a:lnTo>
                  <a:pt x="336" y="166"/>
                </a:lnTo>
                <a:lnTo>
                  <a:pt x="334" y="166"/>
                </a:lnTo>
                <a:lnTo>
                  <a:pt x="334" y="164"/>
                </a:lnTo>
                <a:lnTo>
                  <a:pt x="334" y="164"/>
                </a:lnTo>
                <a:lnTo>
                  <a:pt x="332" y="158"/>
                </a:lnTo>
                <a:lnTo>
                  <a:pt x="332" y="158"/>
                </a:lnTo>
                <a:lnTo>
                  <a:pt x="332" y="158"/>
                </a:lnTo>
                <a:lnTo>
                  <a:pt x="332" y="158"/>
                </a:lnTo>
                <a:lnTo>
                  <a:pt x="330" y="148"/>
                </a:lnTo>
                <a:lnTo>
                  <a:pt x="330" y="148"/>
                </a:lnTo>
                <a:lnTo>
                  <a:pt x="330" y="138"/>
                </a:lnTo>
                <a:lnTo>
                  <a:pt x="330" y="138"/>
                </a:lnTo>
                <a:lnTo>
                  <a:pt x="332" y="122"/>
                </a:lnTo>
                <a:lnTo>
                  <a:pt x="332" y="122"/>
                </a:lnTo>
                <a:lnTo>
                  <a:pt x="332" y="110"/>
                </a:lnTo>
                <a:lnTo>
                  <a:pt x="332" y="110"/>
                </a:lnTo>
                <a:lnTo>
                  <a:pt x="334" y="108"/>
                </a:lnTo>
                <a:lnTo>
                  <a:pt x="334" y="108"/>
                </a:lnTo>
                <a:lnTo>
                  <a:pt x="336" y="108"/>
                </a:lnTo>
                <a:lnTo>
                  <a:pt x="336" y="106"/>
                </a:lnTo>
                <a:lnTo>
                  <a:pt x="336" y="106"/>
                </a:lnTo>
                <a:lnTo>
                  <a:pt x="338" y="104"/>
                </a:lnTo>
                <a:lnTo>
                  <a:pt x="338" y="104"/>
                </a:lnTo>
                <a:lnTo>
                  <a:pt x="340" y="102"/>
                </a:lnTo>
                <a:lnTo>
                  <a:pt x="340" y="98"/>
                </a:lnTo>
                <a:lnTo>
                  <a:pt x="340" y="98"/>
                </a:lnTo>
                <a:lnTo>
                  <a:pt x="342" y="88"/>
                </a:lnTo>
                <a:lnTo>
                  <a:pt x="342" y="88"/>
                </a:lnTo>
                <a:lnTo>
                  <a:pt x="342" y="76"/>
                </a:lnTo>
                <a:lnTo>
                  <a:pt x="342" y="76"/>
                </a:lnTo>
                <a:lnTo>
                  <a:pt x="340" y="70"/>
                </a:lnTo>
                <a:lnTo>
                  <a:pt x="338" y="68"/>
                </a:lnTo>
                <a:lnTo>
                  <a:pt x="338" y="68"/>
                </a:lnTo>
                <a:lnTo>
                  <a:pt x="334" y="66"/>
                </a:lnTo>
                <a:lnTo>
                  <a:pt x="334" y="68"/>
                </a:lnTo>
                <a:lnTo>
                  <a:pt x="334" y="68"/>
                </a:lnTo>
                <a:lnTo>
                  <a:pt x="334" y="62"/>
                </a:lnTo>
                <a:lnTo>
                  <a:pt x="334" y="62"/>
                </a:lnTo>
                <a:lnTo>
                  <a:pt x="332" y="56"/>
                </a:lnTo>
                <a:lnTo>
                  <a:pt x="332" y="56"/>
                </a:lnTo>
                <a:lnTo>
                  <a:pt x="330" y="46"/>
                </a:lnTo>
                <a:lnTo>
                  <a:pt x="330" y="46"/>
                </a:lnTo>
                <a:lnTo>
                  <a:pt x="326" y="32"/>
                </a:lnTo>
                <a:lnTo>
                  <a:pt x="326" y="32"/>
                </a:lnTo>
                <a:lnTo>
                  <a:pt x="324" y="26"/>
                </a:lnTo>
                <a:lnTo>
                  <a:pt x="320" y="22"/>
                </a:lnTo>
                <a:lnTo>
                  <a:pt x="320" y="22"/>
                </a:lnTo>
                <a:lnTo>
                  <a:pt x="310" y="14"/>
                </a:lnTo>
                <a:lnTo>
                  <a:pt x="310" y="14"/>
                </a:lnTo>
                <a:lnTo>
                  <a:pt x="300" y="8"/>
                </a:lnTo>
                <a:lnTo>
                  <a:pt x="300" y="8"/>
                </a:lnTo>
                <a:lnTo>
                  <a:pt x="290" y="4"/>
                </a:lnTo>
                <a:lnTo>
                  <a:pt x="290" y="4"/>
                </a:lnTo>
                <a:lnTo>
                  <a:pt x="280" y="2"/>
                </a:lnTo>
                <a:lnTo>
                  <a:pt x="268" y="0"/>
                </a:lnTo>
                <a:lnTo>
                  <a:pt x="268" y="0"/>
                </a:lnTo>
                <a:lnTo>
                  <a:pt x="260" y="0"/>
                </a:lnTo>
                <a:lnTo>
                  <a:pt x="254" y="0"/>
                </a:lnTo>
                <a:lnTo>
                  <a:pt x="254" y="0"/>
                </a:lnTo>
                <a:lnTo>
                  <a:pt x="244" y="4"/>
                </a:lnTo>
                <a:lnTo>
                  <a:pt x="234" y="12"/>
                </a:lnTo>
                <a:lnTo>
                  <a:pt x="234" y="12"/>
                </a:lnTo>
                <a:lnTo>
                  <a:pt x="222" y="24"/>
                </a:lnTo>
                <a:lnTo>
                  <a:pt x="222" y="24"/>
                </a:lnTo>
                <a:lnTo>
                  <a:pt x="218" y="30"/>
                </a:lnTo>
                <a:lnTo>
                  <a:pt x="214" y="32"/>
                </a:lnTo>
                <a:lnTo>
                  <a:pt x="214" y="32"/>
                </a:lnTo>
                <a:lnTo>
                  <a:pt x="214" y="34"/>
                </a:lnTo>
                <a:lnTo>
                  <a:pt x="212" y="36"/>
                </a:lnTo>
                <a:lnTo>
                  <a:pt x="212" y="36"/>
                </a:lnTo>
                <a:lnTo>
                  <a:pt x="210" y="42"/>
                </a:lnTo>
                <a:lnTo>
                  <a:pt x="210" y="42"/>
                </a:lnTo>
                <a:lnTo>
                  <a:pt x="208" y="54"/>
                </a:lnTo>
                <a:lnTo>
                  <a:pt x="208" y="54"/>
                </a:lnTo>
                <a:lnTo>
                  <a:pt x="208" y="62"/>
                </a:lnTo>
                <a:lnTo>
                  <a:pt x="208" y="62"/>
                </a:lnTo>
                <a:lnTo>
                  <a:pt x="208" y="70"/>
                </a:lnTo>
                <a:lnTo>
                  <a:pt x="208" y="70"/>
                </a:lnTo>
                <a:lnTo>
                  <a:pt x="210" y="82"/>
                </a:lnTo>
                <a:lnTo>
                  <a:pt x="210" y="82"/>
                </a:lnTo>
                <a:lnTo>
                  <a:pt x="212" y="84"/>
                </a:lnTo>
                <a:lnTo>
                  <a:pt x="210" y="86"/>
                </a:lnTo>
                <a:lnTo>
                  <a:pt x="210" y="86"/>
                </a:lnTo>
                <a:lnTo>
                  <a:pt x="208" y="86"/>
                </a:lnTo>
                <a:lnTo>
                  <a:pt x="206" y="88"/>
                </a:lnTo>
                <a:lnTo>
                  <a:pt x="206" y="88"/>
                </a:lnTo>
                <a:lnTo>
                  <a:pt x="206" y="94"/>
                </a:lnTo>
                <a:lnTo>
                  <a:pt x="208" y="100"/>
                </a:lnTo>
                <a:lnTo>
                  <a:pt x="208" y="100"/>
                </a:lnTo>
                <a:lnTo>
                  <a:pt x="210" y="110"/>
                </a:lnTo>
                <a:lnTo>
                  <a:pt x="210" y="110"/>
                </a:lnTo>
                <a:lnTo>
                  <a:pt x="212" y="116"/>
                </a:lnTo>
                <a:lnTo>
                  <a:pt x="214" y="120"/>
                </a:lnTo>
                <a:lnTo>
                  <a:pt x="214" y="120"/>
                </a:lnTo>
                <a:lnTo>
                  <a:pt x="218" y="124"/>
                </a:lnTo>
                <a:lnTo>
                  <a:pt x="218" y="124"/>
                </a:lnTo>
                <a:lnTo>
                  <a:pt x="220" y="124"/>
                </a:lnTo>
                <a:lnTo>
                  <a:pt x="220" y="124"/>
                </a:lnTo>
                <a:lnTo>
                  <a:pt x="224" y="134"/>
                </a:lnTo>
                <a:lnTo>
                  <a:pt x="224" y="134"/>
                </a:lnTo>
                <a:lnTo>
                  <a:pt x="228" y="142"/>
                </a:lnTo>
                <a:lnTo>
                  <a:pt x="228" y="142"/>
                </a:lnTo>
                <a:lnTo>
                  <a:pt x="230" y="148"/>
                </a:lnTo>
                <a:lnTo>
                  <a:pt x="230" y="148"/>
                </a:lnTo>
                <a:lnTo>
                  <a:pt x="234" y="156"/>
                </a:lnTo>
                <a:lnTo>
                  <a:pt x="234" y="162"/>
                </a:lnTo>
                <a:lnTo>
                  <a:pt x="234" y="162"/>
                </a:lnTo>
                <a:lnTo>
                  <a:pt x="234" y="166"/>
                </a:lnTo>
                <a:lnTo>
                  <a:pt x="234" y="170"/>
                </a:lnTo>
                <a:lnTo>
                  <a:pt x="234" y="170"/>
                </a:lnTo>
                <a:lnTo>
                  <a:pt x="236" y="174"/>
                </a:lnTo>
                <a:lnTo>
                  <a:pt x="236" y="178"/>
                </a:lnTo>
                <a:lnTo>
                  <a:pt x="236" y="178"/>
                </a:lnTo>
                <a:lnTo>
                  <a:pt x="234" y="182"/>
                </a:lnTo>
                <a:lnTo>
                  <a:pt x="234" y="182"/>
                </a:lnTo>
                <a:lnTo>
                  <a:pt x="232" y="188"/>
                </a:lnTo>
                <a:lnTo>
                  <a:pt x="232" y="188"/>
                </a:lnTo>
                <a:lnTo>
                  <a:pt x="224" y="192"/>
                </a:lnTo>
                <a:lnTo>
                  <a:pt x="224" y="192"/>
                </a:lnTo>
                <a:lnTo>
                  <a:pt x="218" y="196"/>
                </a:lnTo>
                <a:lnTo>
                  <a:pt x="218" y="196"/>
                </a:lnTo>
                <a:lnTo>
                  <a:pt x="212" y="198"/>
                </a:lnTo>
                <a:lnTo>
                  <a:pt x="212" y="198"/>
                </a:lnTo>
                <a:lnTo>
                  <a:pt x="206" y="198"/>
                </a:lnTo>
                <a:lnTo>
                  <a:pt x="198" y="202"/>
                </a:lnTo>
                <a:lnTo>
                  <a:pt x="198" y="202"/>
                </a:lnTo>
                <a:lnTo>
                  <a:pt x="180" y="210"/>
                </a:lnTo>
                <a:lnTo>
                  <a:pt x="180" y="210"/>
                </a:lnTo>
                <a:lnTo>
                  <a:pt x="166" y="216"/>
                </a:lnTo>
                <a:lnTo>
                  <a:pt x="166" y="216"/>
                </a:lnTo>
                <a:lnTo>
                  <a:pt x="150" y="220"/>
                </a:lnTo>
                <a:lnTo>
                  <a:pt x="150" y="220"/>
                </a:lnTo>
                <a:lnTo>
                  <a:pt x="136" y="224"/>
                </a:lnTo>
                <a:lnTo>
                  <a:pt x="136" y="224"/>
                </a:lnTo>
                <a:lnTo>
                  <a:pt x="124" y="228"/>
                </a:lnTo>
                <a:lnTo>
                  <a:pt x="124" y="228"/>
                </a:lnTo>
                <a:lnTo>
                  <a:pt x="118" y="232"/>
                </a:lnTo>
                <a:lnTo>
                  <a:pt x="118" y="232"/>
                </a:lnTo>
                <a:lnTo>
                  <a:pt x="116" y="232"/>
                </a:lnTo>
                <a:lnTo>
                  <a:pt x="114" y="236"/>
                </a:lnTo>
                <a:lnTo>
                  <a:pt x="114" y="236"/>
                </a:lnTo>
                <a:lnTo>
                  <a:pt x="110" y="242"/>
                </a:lnTo>
                <a:lnTo>
                  <a:pt x="110" y="252"/>
                </a:lnTo>
                <a:lnTo>
                  <a:pt x="110" y="252"/>
                </a:lnTo>
                <a:lnTo>
                  <a:pt x="110" y="266"/>
                </a:lnTo>
                <a:lnTo>
                  <a:pt x="110" y="266"/>
                </a:lnTo>
                <a:lnTo>
                  <a:pt x="110" y="274"/>
                </a:lnTo>
                <a:lnTo>
                  <a:pt x="110" y="274"/>
                </a:lnTo>
                <a:lnTo>
                  <a:pt x="110" y="282"/>
                </a:lnTo>
                <a:lnTo>
                  <a:pt x="110" y="282"/>
                </a:lnTo>
                <a:lnTo>
                  <a:pt x="104" y="292"/>
                </a:lnTo>
                <a:lnTo>
                  <a:pt x="104" y="292"/>
                </a:lnTo>
                <a:lnTo>
                  <a:pt x="102" y="304"/>
                </a:lnTo>
                <a:lnTo>
                  <a:pt x="102" y="304"/>
                </a:lnTo>
                <a:lnTo>
                  <a:pt x="100" y="316"/>
                </a:lnTo>
                <a:lnTo>
                  <a:pt x="100" y="316"/>
                </a:lnTo>
                <a:lnTo>
                  <a:pt x="98" y="336"/>
                </a:lnTo>
                <a:lnTo>
                  <a:pt x="98" y="336"/>
                </a:lnTo>
                <a:lnTo>
                  <a:pt x="96" y="354"/>
                </a:lnTo>
                <a:lnTo>
                  <a:pt x="96" y="354"/>
                </a:lnTo>
                <a:lnTo>
                  <a:pt x="94" y="366"/>
                </a:lnTo>
                <a:lnTo>
                  <a:pt x="94" y="366"/>
                </a:lnTo>
                <a:lnTo>
                  <a:pt x="88" y="388"/>
                </a:lnTo>
                <a:lnTo>
                  <a:pt x="88" y="388"/>
                </a:lnTo>
                <a:lnTo>
                  <a:pt x="86" y="404"/>
                </a:lnTo>
                <a:lnTo>
                  <a:pt x="86" y="404"/>
                </a:lnTo>
                <a:lnTo>
                  <a:pt x="84" y="418"/>
                </a:lnTo>
                <a:lnTo>
                  <a:pt x="84" y="418"/>
                </a:lnTo>
                <a:lnTo>
                  <a:pt x="84" y="424"/>
                </a:lnTo>
                <a:lnTo>
                  <a:pt x="84" y="424"/>
                </a:lnTo>
                <a:lnTo>
                  <a:pt x="84" y="432"/>
                </a:lnTo>
                <a:lnTo>
                  <a:pt x="84" y="432"/>
                </a:lnTo>
                <a:lnTo>
                  <a:pt x="82" y="440"/>
                </a:lnTo>
                <a:lnTo>
                  <a:pt x="80" y="450"/>
                </a:lnTo>
                <a:lnTo>
                  <a:pt x="80" y="450"/>
                </a:lnTo>
                <a:lnTo>
                  <a:pt x="80" y="464"/>
                </a:lnTo>
                <a:lnTo>
                  <a:pt x="80" y="464"/>
                </a:lnTo>
                <a:lnTo>
                  <a:pt x="78" y="470"/>
                </a:lnTo>
                <a:lnTo>
                  <a:pt x="76" y="480"/>
                </a:lnTo>
                <a:lnTo>
                  <a:pt x="76" y="480"/>
                </a:lnTo>
                <a:lnTo>
                  <a:pt x="74" y="512"/>
                </a:lnTo>
                <a:lnTo>
                  <a:pt x="74" y="512"/>
                </a:lnTo>
                <a:lnTo>
                  <a:pt x="72" y="542"/>
                </a:lnTo>
                <a:lnTo>
                  <a:pt x="72" y="542"/>
                </a:lnTo>
                <a:lnTo>
                  <a:pt x="70" y="562"/>
                </a:lnTo>
                <a:lnTo>
                  <a:pt x="70" y="562"/>
                </a:lnTo>
                <a:lnTo>
                  <a:pt x="68" y="570"/>
                </a:lnTo>
                <a:lnTo>
                  <a:pt x="66" y="578"/>
                </a:lnTo>
                <a:lnTo>
                  <a:pt x="66" y="578"/>
                </a:lnTo>
                <a:lnTo>
                  <a:pt x="66" y="592"/>
                </a:lnTo>
                <a:lnTo>
                  <a:pt x="66" y="592"/>
                </a:lnTo>
                <a:lnTo>
                  <a:pt x="66" y="606"/>
                </a:lnTo>
                <a:lnTo>
                  <a:pt x="66" y="606"/>
                </a:lnTo>
                <a:lnTo>
                  <a:pt x="66" y="624"/>
                </a:lnTo>
                <a:lnTo>
                  <a:pt x="66" y="624"/>
                </a:lnTo>
                <a:lnTo>
                  <a:pt x="66" y="642"/>
                </a:lnTo>
                <a:lnTo>
                  <a:pt x="66" y="642"/>
                </a:lnTo>
                <a:lnTo>
                  <a:pt x="66" y="658"/>
                </a:lnTo>
                <a:lnTo>
                  <a:pt x="66" y="658"/>
                </a:lnTo>
                <a:lnTo>
                  <a:pt x="66" y="660"/>
                </a:lnTo>
                <a:lnTo>
                  <a:pt x="66" y="662"/>
                </a:lnTo>
                <a:lnTo>
                  <a:pt x="66" y="662"/>
                </a:lnTo>
                <a:lnTo>
                  <a:pt x="70" y="664"/>
                </a:lnTo>
                <a:lnTo>
                  <a:pt x="70" y="664"/>
                </a:lnTo>
                <a:lnTo>
                  <a:pt x="72" y="664"/>
                </a:lnTo>
                <a:lnTo>
                  <a:pt x="72" y="664"/>
                </a:lnTo>
                <a:lnTo>
                  <a:pt x="74" y="670"/>
                </a:lnTo>
                <a:lnTo>
                  <a:pt x="74" y="670"/>
                </a:lnTo>
                <a:lnTo>
                  <a:pt x="74" y="676"/>
                </a:lnTo>
                <a:lnTo>
                  <a:pt x="74" y="676"/>
                </a:lnTo>
                <a:lnTo>
                  <a:pt x="74" y="676"/>
                </a:lnTo>
                <a:lnTo>
                  <a:pt x="74" y="676"/>
                </a:lnTo>
                <a:lnTo>
                  <a:pt x="74" y="688"/>
                </a:lnTo>
                <a:lnTo>
                  <a:pt x="74" y="688"/>
                </a:lnTo>
                <a:lnTo>
                  <a:pt x="72" y="694"/>
                </a:lnTo>
                <a:lnTo>
                  <a:pt x="72" y="694"/>
                </a:lnTo>
                <a:lnTo>
                  <a:pt x="72" y="702"/>
                </a:lnTo>
                <a:lnTo>
                  <a:pt x="72" y="702"/>
                </a:lnTo>
                <a:lnTo>
                  <a:pt x="70" y="708"/>
                </a:lnTo>
                <a:lnTo>
                  <a:pt x="70" y="708"/>
                </a:lnTo>
                <a:lnTo>
                  <a:pt x="70" y="712"/>
                </a:lnTo>
                <a:lnTo>
                  <a:pt x="70" y="712"/>
                </a:lnTo>
                <a:lnTo>
                  <a:pt x="72" y="716"/>
                </a:lnTo>
                <a:lnTo>
                  <a:pt x="72" y="716"/>
                </a:lnTo>
                <a:lnTo>
                  <a:pt x="72" y="722"/>
                </a:lnTo>
                <a:lnTo>
                  <a:pt x="72" y="722"/>
                </a:lnTo>
                <a:lnTo>
                  <a:pt x="74" y="728"/>
                </a:lnTo>
                <a:lnTo>
                  <a:pt x="74" y="728"/>
                </a:lnTo>
                <a:lnTo>
                  <a:pt x="74" y="738"/>
                </a:lnTo>
                <a:lnTo>
                  <a:pt x="74" y="738"/>
                </a:lnTo>
                <a:lnTo>
                  <a:pt x="76" y="744"/>
                </a:lnTo>
                <a:lnTo>
                  <a:pt x="76" y="744"/>
                </a:lnTo>
                <a:lnTo>
                  <a:pt x="76" y="746"/>
                </a:lnTo>
                <a:lnTo>
                  <a:pt x="76" y="746"/>
                </a:lnTo>
                <a:lnTo>
                  <a:pt x="76" y="750"/>
                </a:lnTo>
                <a:lnTo>
                  <a:pt x="76" y="750"/>
                </a:lnTo>
                <a:lnTo>
                  <a:pt x="78" y="752"/>
                </a:lnTo>
                <a:lnTo>
                  <a:pt x="78" y="752"/>
                </a:lnTo>
                <a:lnTo>
                  <a:pt x="78" y="754"/>
                </a:lnTo>
                <a:lnTo>
                  <a:pt x="78" y="754"/>
                </a:lnTo>
                <a:lnTo>
                  <a:pt x="76" y="762"/>
                </a:lnTo>
                <a:lnTo>
                  <a:pt x="76" y="762"/>
                </a:lnTo>
                <a:lnTo>
                  <a:pt x="72" y="770"/>
                </a:lnTo>
                <a:lnTo>
                  <a:pt x="72" y="770"/>
                </a:lnTo>
                <a:lnTo>
                  <a:pt x="68" y="778"/>
                </a:lnTo>
                <a:lnTo>
                  <a:pt x="68" y="778"/>
                </a:lnTo>
                <a:lnTo>
                  <a:pt x="62" y="792"/>
                </a:lnTo>
                <a:lnTo>
                  <a:pt x="62" y="792"/>
                </a:lnTo>
                <a:lnTo>
                  <a:pt x="58" y="802"/>
                </a:lnTo>
                <a:lnTo>
                  <a:pt x="56" y="812"/>
                </a:lnTo>
                <a:lnTo>
                  <a:pt x="56" y="812"/>
                </a:lnTo>
                <a:lnTo>
                  <a:pt x="56" y="822"/>
                </a:lnTo>
                <a:lnTo>
                  <a:pt x="56" y="822"/>
                </a:lnTo>
                <a:lnTo>
                  <a:pt x="54" y="822"/>
                </a:lnTo>
                <a:lnTo>
                  <a:pt x="54" y="822"/>
                </a:lnTo>
                <a:lnTo>
                  <a:pt x="48" y="820"/>
                </a:lnTo>
                <a:lnTo>
                  <a:pt x="48" y="820"/>
                </a:lnTo>
                <a:lnTo>
                  <a:pt x="46" y="820"/>
                </a:lnTo>
                <a:lnTo>
                  <a:pt x="46" y="820"/>
                </a:lnTo>
                <a:lnTo>
                  <a:pt x="44" y="822"/>
                </a:lnTo>
                <a:lnTo>
                  <a:pt x="44" y="822"/>
                </a:lnTo>
                <a:lnTo>
                  <a:pt x="44" y="822"/>
                </a:lnTo>
                <a:lnTo>
                  <a:pt x="44" y="822"/>
                </a:lnTo>
                <a:lnTo>
                  <a:pt x="42" y="822"/>
                </a:lnTo>
                <a:lnTo>
                  <a:pt x="42" y="822"/>
                </a:lnTo>
                <a:lnTo>
                  <a:pt x="40" y="822"/>
                </a:lnTo>
                <a:lnTo>
                  <a:pt x="40" y="822"/>
                </a:lnTo>
                <a:lnTo>
                  <a:pt x="40" y="826"/>
                </a:lnTo>
                <a:lnTo>
                  <a:pt x="40" y="826"/>
                </a:lnTo>
                <a:lnTo>
                  <a:pt x="38" y="830"/>
                </a:lnTo>
                <a:lnTo>
                  <a:pt x="38" y="830"/>
                </a:lnTo>
                <a:lnTo>
                  <a:pt x="36" y="830"/>
                </a:lnTo>
                <a:lnTo>
                  <a:pt x="36" y="832"/>
                </a:lnTo>
                <a:lnTo>
                  <a:pt x="36" y="832"/>
                </a:lnTo>
                <a:lnTo>
                  <a:pt x="36" y="834"/>
                </a:lnTo>
                <a:lnTo>
                  <a:pt x="36" y="834"/>
                </a:lnTo>
                <a:lnTo>
                  <a:pt x="30" y="844"/>
                </a:lnTo>
                <a:lnTo>
                  <a:pt x="30" y="844"/>
                </a:lnTo>
                <a:lnTo>
                  <a:pt x="28" y="846"/>
                </a:lnTo>
                <a:lnTo>
                  <a:pt x="28" y="846"/>
                </a:lnTo>
                <a:lnTo>
                  <a:pt x="26" y="854"/>
                </a:lnTo>
                <a:lnTo>
                  <a:pt x="26" y="854"/>
                </a:lnTo>
                <a:lnTo>
                  <a:pt x="24" y="856"/>
                </a:lnTo>
                <a:lnTo>
                  <a:pt x="24" y="856"/>
                </a:lnTo>
                <a:lnTo>
                  <a:pt x="22" y="860"/>
                </a:lnTo>
                <a:lnTo>
                  <a:pt x="22" y="860"/>
                </a:lnTo>
                <a:lnTo>
                  <a:pt x="18" y="866"/>
                </a:lnTo>
                <a:lnTo>
                  <a:pt x="18" y="866"/>
                </a:lnTo>
                <a:lnTo>
                  <a:pt x="16" y="876"/>
                </a:lnTo>
                <a:lnTo>
                  <a:pt x="16" y="876"/>
                </a:lnTo>
                <a:lnTo>
                  <a:pt x="14" y="884"/>
                </a:lnTo>
                <a:lnTo>
                  <a:pt x="14" y="884"/>
                </a:lnTo>
                <a:lnTo>
                  <a:pt x="14" y="888"/>
                </a:lnTo>
                <a:lnTo>
                  <a:pt x="14" y="888"/>
                </a:lnTo>
                <a:lnTo>
                  <a:pt x="10" y="890"/>
                </a:lnTo>
                <a:lnTo>
                  <a:pt x="10" y="890"/>
                </a:lnTo>
                <a:lnTo>
                  <a:pt x="10" y="892"/>
                </a:lnTo>
                <a:lnTo>
                  <a:pt x="10" y="894"/>
                </a:lnTo>
                <a:lnTo>
                  <a:pt x="10" y="894"/>
                </a:lnTo>
                <a:lnTo>
                  <a:pt x="12" y="894"/>
                </a:lnTo>
                <a:lnTo>
                  <a:pt x="12" y="894"/>
                </a:lnTo>
                <a:lnTo>
                  <a:pt x="8" y="908"/>
                </a:lnTo>
                <a:lnTo>
                  <a:pt x="8" y="908"/>
                </a:lnTo>
                <a:lnTo>
                  <a:pt x="2" y="932"/>
                </a:lnTo>
                <a:lnTo>
                  <a:pt x="2" y="932"/>
                </a:lnTo>
                <a:lnTo>
                  <a:pt x="0" y="956"/>
                </a:lnTo>
                <a:lnTo>
                  <a:pt x="0" y="956"/>
                </a:lnTo>
                <a:lnTo>
                  <a:pt x="0" y="988"/>
                </a:lnTo>
                <a:lnTo>
                  <a:pt x="0" y="988"/>
                </a:lnTo>
                <a:lnTo>
                  <a:pt x="2" y="1002"/>
                </a:lnTo>
                <a:lnTo>
                  <a:pt x="2" y="1002"/>
                </a:lnTo>
                <a:lnTo>
                  <a:pt x="4" y="1010"/>
                </a:lnTo>
                <a:lnTo>
                  <a:pt x="6" y="1020"/>
                </a:lnTo>
                <a:lnTo>
                  <a:pt x="6" y="1020"/>
                </a:lnTo>
                <a:lnTo>
                  <a:pt x="10" y="1026"/>
                </a:lnTo>
                <a:lnTo>
                  <a:pt x="12" y="1030"/>
                </a:lnTo>
                <a:lnTo>
                  <a:pt x="12" y="1030"/>
                </a:lnTo>
                <a:lnTo>
                  <a:pt x="14" y="1032"/>
                </a:lnTo>
                <a:lnTo>
                  <a:pt x="14" y="1032"/>
                </a:lnTo>
                <a:lnTo>
                  <a:pt x="16" y="1034"/>
                </a:lnTo>
                <a:lnTo>
                  <a:pt x="16" y="1034"/>
                </a:lnTo>
                <a:lnTo>
                  <a:pt x="18" y="1036"/>
                </a:lnTo>
                <a:lnTo>
                  <a:pt x="18" y="1036"/>
                </a:lnTo>
                <a:lnTo>
                  <a:pt x="18" y="1036"/>
                </a:lnTo>
                <a:lnTo>
                  <a:pt x="18" y="1036"/>
                </a:lnTo>
                <a:lnTo>
                  <a:pt x="20" y="1036"/>
                </a:lnTo>
                <a:lnTo>
                  <a:pt x="20" y="1036"/>
                </a:lnTo>
                <a:lnTo>
                  <a:pt x="22" y="1036"/>
                </a:lnTo>
                <a:lnTo>
                  <a:pt x="22" y="1036"/>
                </a:lnTo>
                <a:lnTo>
                  <a:pt x="22" y="1036"/>
                </a:lnTo>
                <a:lnTo>
                  <a:pt x="22" y="1038"/>
                </a:lnTo>
                <a:lnTo>
                  <a:pt x="22" y="1038"/>
                </a:lnTo>
                <a:lnTo>
                  <a:pt x="26" y="1038"/>
                </a:lnTo>
                <a:lnTo>
                  <a:pt x="26" y="1038"/>
                </a:lnTo>
                <a:lnTo>
                  <a:pt x="26" y="1036"/>
                </a:lnTo>
                <a:lnTo>
                  <a:pt x="28" y="1038"/>
                </a:lnTo>
                <a:lnTo>
                  <a:pt x="28" y="1038"/>
                </a:lnTo>
                <a:lnTo>
                  <a:pt x="28" y="1038"/>
                </a:lnTo>
                <a:lnTo>
                  <a:pt x="30" y="1038"/>
                </a:lnTo>
                <a:lnTo>
                  <a:pt x="30" y="1038"/>
                </a:lnTo>
                <a:lnTo>
                  <a:pt x="36" y="1040"/>
                </a:lnTo>
                <a:lnTo>
                  <a:pt x="36" y="1040"/>
                </a:lnTo>
                <a:lnTo>
                  <a:pt x="44" y="1040"/>
                </a:lnTo>
                <a:lnTo>
                  <a:pt x="44" y="1040"/>
                </a:lnTo>
                <a:lnTo>
                  <a:pt x="50" y="1040"/>
                </a:lnTo>
                <a:lnTo>
                  <a:pt x="50" y="1040"/>
                </a:lnTo>
                <a:lnTo>
                  <a:pt x="50" y="1042"/>
                </a:lnTo>
                <a:lnTo>
                  <a:pt x="50" y="1042"/>
                </a:lnTo>
                <a:lnTo>
                  <a:pt x="50" y="1042"/>
                </a:lnTo>
                <a:lnTo>
                  <a:pt x="54" y="1042"/>
                </a:lnTo>
                <a:lnTo>
                  <a:pt x="54" y="1042"/>
                </a:lnTo>
                <a:lnTo>
                  <a:pt x="54" y="1044"/>
                </a:lnTo>
                <a:lnTo>
                  <a:pt x="58" y="1046"/>
                </a:lnTo>
                <a:lnTo>
                  <a:pt x="58" y="1046"/>
                </a:lnTo>
                <a:lnTo>
                  <a:pt x="70" y="1048"/>
                </a:lnTo>
                <a:lnTo>
                  <a:pt x="70" y="1048"/>
                </a:lnTo>
                <a:lnTo>
                  <a:pt x="76" y="1050"/>
                </a:lnTo>
                <a:lnTo>
                  <a:pt x="76" y="1054"/>
                </a:lnTo>
                <a:lnTo>
                  <a:pt x="76" y="1054"/>
                </a:lnTo>
                <a:lnTo>
                  <a:pt x="74" y="1058"/>
                </a:lnTo>
                <a:lnTo>
                  <a:pt x="74" y="1058"/>
                </a:lnTo>
                <a:lnTo>
                  <a:pt x="74" y="1060"/>
                </a:lnTo>
                <a:lnTo>
                  <a:pt x="74" y="1060"/>
                </a:lnTo>
                <a:lnTo>
                  <a:pt x="72" y="1060"/>
                </a:lnTo>
                <a:lnTo>
                  <a:pt x="74" y="1062"/>
                </a:lnTo>
                <a:lnTo>
                  <a:pt x="74" y="1062"/>
                </a:lnTo>
                <a:lnTo>
                  <a:pt x="74" y="1062"/>
                </a:lnTo>
                <a:lnTo>
                  <a:pt x="74" y="1064"/>
                </a:lnTo>
                <a:lnTo>
                  <a:pt x="74" y="1064"/>
                </a:lnTo>
                <a:lnTo>
                  <a:pt x="74" y="1068"/>
                </a:lnTo>
                <a:lnTo>
                  <a:pt x="74" y="1070"/>
                </a:lnTo>
                <a:lnTo>
                  <a:pt x="74" y="1070"/>
                </a:lnTo>
                <a:lnTo>
                  <a:pt x="76" y="1070"/>
                </a:lnTo>
                <a:lnTo>
                  <a:pt x="76" y="1070"/>
                </a:lnTo>
                <a:lnTo>
                  <a:pt x="76" y="1076"/>
                </a:lnTo>
                <a:lnTo>
                  <a:pt x="76" y="1076"/>
                </a:lnTo>
                <a:lnTo>
                  <a:pt x="78" y="1086"/>
                </a:lnTo>
                <a:lnTo>
                  <a:pt x="78" y="1086"/>
                </a:lnTo>
                <a:lnTo>
                  <a:pt x="80" y="1092"/>
                </a:lnTo>
                <a:lnTo>
                  <a:pt x="80" y="1092"/>
                </a:lnTo>
                <a:lnTo>
                  <a:pt x="84" y="1108"/>
                </a:lnTo>
                <a:lnTo>
                  <a:pt x="84" y="1108"/>
                </a:lnTo>
                <a:lnTo>
                  <a:pt x="86" y="1120"/>
                </a:lnTo>
                <a:lnTo>
                  <a:pt x="86" y="1120"/>
                </a:lnTo>
                <a:lnTo>
                  <a:pt x="86" y="1128"/>
                </a:lnTo>
                <a:lnTo>
                  <a:pt x="86" y="1128"/>
                </a:lnTo>
                <a:lnTo>
                  <a:pt x="86" y="1130"/>
                </a:lnTo>
                <a:lnTo>
                  <a:pt x="86" y="1132"/>
                </a:lnTo>
                <a:lnTo>
                  <a:pt x="86" y="1132"/>
                </a:lnTo>
                <a:lnTo>
                  <a:pt x="84" y="1134"/>
                </a:lnTo>
                <a:lnTo>
                  <a:pt x="84" y="1136"/>
                </a:lnTo>
                <a:lnTo>
                  <a:pt x="84" y="1136"/>
                </a:lnTo>
                <a:lnTo>
                  <a:pt x="86" y="1140"/>
                </a:lnTo>
                <a:lnTo>
                  <a:pt x="86" y="1140"/>
                </a:lnTo>
                <a:lnTo>
                  <a:pt x="86" y="1144"/>
                </a:lnTo>
                <a:lnTo>
                  <a:pt x="86" y="1144"/>
                </a:lnTo>
                <a:lnTo>
                  <a:pt x="88" y="1146"/>
                </a:lnTo>
                <a:lnTo>
                  <a:pt x="88" y="1146"/>
                </a:lnTo>
                <a:lnTo>
                  <a:pt x="88" y="1146"/>
                </a:lnTo>
                <a:lnTo>
                  <a:pt x="88" y="1146"/>
                </a:lnTo>
                <a:lnTo>
                  <a:pt x="88" y="1152"/>
                </a:lnTo>
                <a:lnTo>
                  <a:pt x="88" y="1152"/>
                </a:lnTo>
                <a:lnTo>
                  <a:pt x="88" y="1156"/>
                </a:lnTo>
                <a:lnTo>
                  <a:pt x="88" y="1156"/>
                </a:lnTo>
                <a:lnTo>
                  <a:pt x="88" y="1160"/>
                </a:lnTo>
                <a:lnTo>
                  <a:pt x="88" y="1160"/>
                </a:lnTo>
                <a:lnTo>
                  <a:pt x="84" y="1166"/>
                </a:lnTo>
                <a:lnTo>
                  <a:pt x="84" y="1166"/>
                </a:lnTo>
                <a:lnTo>
                  <a:pt x="82" y="1168"/>
                </a:lnTo>
                <a:lnTo>
                  <a:pt x="82" y="1168"/>
                </a:lnTo>
                <a:lnTo>
                  <a:pt x="80" y="1172"/>
                </a:lnTo>
                <a:lnTo>
                  <a:pt x="80" y="1172"/>
                </a:lnTo>
                <a:lnTo>
                  <a:pt x="66" y="1190"/>
                </a:lnTo>
                <a:lnTo>
                  <a:pt x="66" y="1190"/>
                </a:lnTo>
                <a:lnTo>
                  <a:pt x="60" y="1198"/>
                </a:lnTo>
                <a:lnTo>
                  <a:pt x="56" y="1206"/>
                </a:lnTo>
                <a:lnTo>
                  <a:pt x="56" y="1206"/>
                </a:lnTo>
                <a:lnTo>
                  <a:pt x="56" y="1210"/>
                </a:lnTo>
                <a:lnTo>
                  <a:pt x="60" y="1214"/>
                </a:lnTo>
                <a:lnTo>
                  <a:pt x="60" y="1214"/>
                </a:lnTo>
                <a:lnTo>
                  <a:pt x="66" y="1214"/>
                </a:lnTo>
                <a:lnTo>
                  <a:pt x="72" y="1212"/>
                </a:lnTo>
                <a:lnTo>
                  <a:pt x="72" y="1212"/>
                </a:lnTo>
                <a:lnTo>
                  <a:pt x="80" y="1208"/>
                </a:lnTo>
                <a:lnTo>
                  <a:pt x="80" y="1208"/>
                </a:lnTo>
                <a:lnTo>
                  <a:pt x="84" y="1206"/>
                </a:lnTo>
                <a:lnTo>
                  <a:pt x="84" y="1206"/>
                </a:lnTo>
                <a:lnTo>
                  <a:pt x="92" y="1204"/>
                </a:lnTo>
                <a:lnTo>
                  <a:pt x="92" y="1204"/>
                </a:lnTo>
                <a:lnTo>
                  <a:pt x="102" y="1200"/>
                </a:lnTo>
                <a:lnTo>
                  <a:pt x="102" y="1200"/>
                </a:lnTo>
                <a:lnTo>
                  <a:pt x="108" y="1198"/>
                </a:lnTo>
                <a:lnTo>
                  <a:pt x="108" y="1198"/>
                </a:lnTo>
                <a:lnTo>
                  <a:pt x="108" y="1204"/>
                </a:lnTo>
                <a:lnTo>
                  <a:pt x="108" y="1204"/>
                </a:lnTo>
                <a:lnTo>
                  <a:pt x="108" y="1208"/>
                </a:lnTo>
                <a:lnTo>
                  <a:pt x="108" y="1208"/>
                </a:lnTo>
                <a:lnTo>
                  <a:pt x="100" y="1208"/>
                </a:lnTo>
                <a:lnTo>
                  <a:pt x="100" y="1208"/>
                </a:lnTo>
                <a:lnTo>
                  <a:pt x="94" y="1210"/>
                </a:lnTo>
                <a:lnTo>
                  <a:pt x="90" y="1214"/>
                </a:lnTo>
                <a:lnTo>
                  <a:pt x="90" y="1214"/>
                </a:lnTo>
                <a:lnTo>
                  <a:pt x="84" y="1222"/>
                </a:lnTo>
                <a:lnTo>
                  <a:pt x="84" y="1222"/>
                </a:lnTo>
                <a:lnTo>
                  <a:pt x="82" y="1228"/>
                </a:lnTo>
                <a:lnTo>
                  <a:pt x="82" y="1228"/>
                </a:lnTo>
                <a:lnTo>
                  <a:pt x="82" y="1232"/>
                </a:lnTo>
                <a:lnTo>
                  <a:pt x="82" y="1232"/>
                </a:lnTo>
                <a:lnTo>
                  <a:pt x="80" y="1234"/>
                </a:lnTo>
                <a:lnTo>
                  <a:pt x="80" y="1234"/>
                </a:lnTo>
                <a:lnTo>
                  <a:pt x="78" y="1240"/>
                </a:lnTo>
                <a:lnTo>
                  <a:pt x="78" y="1240"/>
                </a:lnTo>
                <a:lnTo>
                  <a:pt x="76" y="1248"/>
                </a:lnTo>
                <a:lnTo>
                  <a:pt x="76" y="1248"/>
                </a:lnTo>
                <a:lnTo>
                  <a:pt x="74" y="1254"/>
                </a:lnTo>
                <a:lnTo>
                  <a:pt x="74" y="1254"/>
                </a:lnTo>
                <a:lnTo>
                  <a:pt x="74" y="1256"/>
                </a:lnTo>
                <a:lnTo>
                  <a:pt x="74" y="1258"/>
                </a:lnTo>
                <a:lnTo>
                  <a:pt x="74" y="1258"/>
                </a:lnTo>
                <a:lnTo>
                  <a:pt x="76" y="1258"/>
                </a:lnTo>
                <a:lnTo>
                  <a:pt x="76" y="1258"/>
                </a:lnTo>
                <a:lnTo>
                  <a:pt x="68" y="1264"/>
                </a:lnTo>
                <a:lnTo>
                  <a:pt x="68" y="1264"/>
                </a:lnTo>
                <a:lnTo>
                  <a:pt x="64" y="1266"/>
                </a:lnTo>
                <a:lnTo>
                  <a:pt x="64" y="1266"/>
                </a:lnTo>
                <a:lnTo>
                  <a:pt x="68" y="1264"/>
                </a:lnTo>
                <a:lnTo>
                  <a:pt x="68" y="1264"/>
                </a:lnTo>
                <a:lnTo>
                  <a:pt x="66" y="1268"/>
                </a:lnTo>
                <a:lnTo>
                  <a:pt x="66" y="1268"/>
                </a:lnTo>
                <a:lnTo>
                  <a:pt x="60" y="1272"/>
                </a:lnTo>
                <a:lnTo>
                  <a:pt x="60" y="1272"/>
                </a:lnTo>
                <a:lnTo>
                  <a:pt x="54" y="1276"/>
                </a:lnTo>
                <a:lnTo>
                  <a:pt x="54" y="1276"/>
                </a:lnTo>
                <a:lnTo>
                  <a:pt x="50" y="1278"/>
                </a:lnTo>
                <a:lnTo>
                  <a:pt x="50" y="1278"/>
                </a:lnTo>
                <a:lnTo>
                  <a:pt x="46" y="1280"/>
                </a:lnTo>
                <a:lnTo>
                  <a:pt x="46" y="1280"/>
                </a:lnTo>
                <a:lnTo>
                  <a:pt x="44" y="1282"/>
                </a:lnTo>
                <a:lnTo>
                  <a:pt x="44" y="1282"/>
                </a:lnTo>
                <a:lnTo>
                  <a:pt x="40" y="1284"/>
                </a:lnTo>
                <a:lnTo>
                  <a:pt x="40" y="1284"/>
                </a:lnTo>
                <a:lnTo>
                  <a:pt x="34" y="1288"/>
                </a:lnTo>
                <a:lnTo>
                  <a:pt x="34" y="1288"/>
                </a:lnTo>
                <a:lnTo>
                  <a:pt x="28" y="1290"/>
                </a:lnTo>
                <a:lnTo>
                  <a:pt x="24" y="1294"/>
                </a:lnTo>
                <a:lnTo>
                  <a:pt x="24" y="1294"/>
                </a:lnTo>
                <a:lnTo>
                  <a:pt x="22" y="1296"/>
                </a:lnTo>
                <a:lnTo>
                  <a:pt x="22" y="1300"/>
                </a:lnTo>
                <a:lnTo>
                  <a:pt x="22" y="1300"/>
                </a:lnTo>
                <a:lnTo>
                  <a:pt x="22" y="1302"/>
                </a:lnTo>
                <a:lnTo>
                  <a:pt x="22" y="1302"/>
                </a:lnTo>
                <a:lnTo>
                  <a:pt x="20" y="1304"/>
                </a:lnTo>
                <a:lnTo>
                  <a:pt x="20" y="1304"/>
                </a:lnTo>
                <a:lnTo>
                  <a:pt x="18" y="1304"/>
                </a:lnTo>
                <a:lnTo>
                  <a:pt x="18" y="1304"/>
                </a:lnTo>
                <a:lnTo>
                  <a:pt x="18" y="1306"/>
                </a:lnTo>
                <a:lnTo>
                  <a:pt x="22" y="1308"/>
                </a:lnTo>
                <a:lnTo>
                  <a:pt x="22" y="1308"/>
                </a:lnTo>
                <a:lnTo>
                  <a:pt x="30" y="1310"/>
                </a:lnTo>
                <a:lnTo>
                  <a:pt x="44" y="1312"/>
                </a:lnTo>
                <a:lnTo>
                  <a:pt x="44" y="1312"/>
                </a:lnTo>
                <a:lnTo>
                  <a:pt x="62" y="1314"/>
                </a:lnTo>
                <a:lnTo>
                  <a:pt x="82" y="1312"/>
                </a:lnTo>
                <a:lnTo>
                  <a:pt x="82" y="1312"/>
                </a:lnTo>
                <a:lnTo>
                  <a:pt x="96" y="1310"/>
                </a:lnTo>
                <a:lnTo>
                  <a:pt x="104" y="1308"/>
                </a:lnTo>
                <a:lnTo>
                  <a:pt x="104" y="1308"/>
                </a:lnTo>
                <a:lnTo>
                  <a:pt x="110" y="1300"/>
                </a:lnTo>
                <a:lnTo>
                  <a:pt x="110" y="1300"/>
                </a:lnTo>
                <a:lnTo>
                  <a:pt x="116" y="1296"/>
                </a:lnTo>
                <a:lnTo>
                  <a:pt x="116" y="1296"/>
                </a:lnTo>
                <a:lnTo>
                  <a:pt x="118" y="1294"/>
                </a:lnTo>
                <a:lnTo>
                  <a:pt x="118" y="1294"/>
                </a:lnTo>
                <a:lnTo>
                  <a:pt x="134" y="1298"/>
                </a:lnTo>
                <a:lnTo>
                  <a:pt x="134" y="1298"/>
                </a:lnTo>
                <a:lnTo>
                  <a:pt x="142" y="1300"/>
                </a:lnTo>
                <a:lnTo>
                  <a:pt x="150" y="1298"/>
                </a:lnTo>
                <a:lnTo>
                  <a:pt x="150" y="1298"/>
                </a:lnTo>
                <a:lnTo>
                  <a:pt x="162" y="1296"/>
                </a:lnTo>
                <a:lnTo>
                  <a:pt x="172" y="1294"/>
                </a:lnTo>
                <a:lnTo>
                  <a:pt x="172" y="1294"/>
                </a:lnTo>
                <a:lnTo>
                  <a:pt x="176" y="1292"/>
                </a:lnTo>
                <a:lnTo>
                  <a:pt x="176" y="1290"/>
                </a:lnTo>
                <a:lnTo>
                  <a:pt x="176" y="1290"/>
                </a:lnTo>
                <a:lnTo>
                  <a:pt x="176" y="1288"/>
                </a:lnTo>
                <a:lnTo>
                  <a:pt x="176" y="1288"/>
                </a:lnTo>
                <a:lnTo>
                  <a:pt x="178" y="1286"/>
                </a:lnTo>
                <a:lnTo>
                  <a:pt x="178" y="1284"/>
                </a:lnTo>
                <a:lnTo>
                  <a:pt x="178" y="1284"/>
                </a:lnTo>
                <a:lnTo>
                  <a:pt x="180" y="1274"/>
                </a:lnTo>
                <a:lnTo>
                  <a:pt x="180" y="1274"/>
                </a:lnTo>
                <a:lnTo>
                  <a:pt x="180" y="1264"/>
                </a:lnTo>
                <a:lnTo>
                  <a:pt x="180" y="1264"/>
                </a:lnTo>
                <a:lnTo>
                  <a:pt x="180" y="1262"/>
                </a:lnTo>
                <a:lnTo>
                  <a:pt x="180" y="1262"/>
                </a:lnTo>
                <a:lnTo>
                  <a:pt x="180" y="1262"/>
                </a:lnTo>
                <a:lnTo>
                  <a:pt x="180" y="1262"/>
                </a:lnTo>
                <a:lnTo>
                  <a:pt x="182" y="1254"/>
                </a:lnTo>
                <a:lnTo>
                  <a:pt x="182" y="1254"/>
                </a:lnTo>
                <a:lnTo>
                  <a:pt x="182" y="1246"/>
                </a:lnTo>
                <a:lnTo>
                  <a:pt x="182" y="1238"/>
                </a:lnTo>
                <a:lnTo>
                  <a:pt x="182" y="1238"/>
                </a:lnTo>
                <a:lnTo>
                  <a:pt x="182" y="1228"/>
                </a:lnTo>
                <a:lnTo>
                  <a:pt x="182" y="1228"/>
                </a:lnTo>
                <a:lnTo>
                  <a:pt x="182" y="1222"/>
                </a:lnTo>
                <a:lnTo>
                  <a:pt x="182" y="1222"/>
                </a:lnTo>
                <a:lnTo>
                  <a:pt x="190" y="1212"/>
                </a:lnTo>
                <a:lnTo>
                  <a:pt x="190" y="1212"/>
                </a:lnTo>
                <a:lnTo>
                  <a:pt x="198" y="1200"/>
                </a:lnTo>
                <a:lnTo>
                  <a:pt x="210" y="1182"/>
                </a:lnTo>
                <a:lnTo>
                  <a:pt x="210" y="1182"/>
                </a:lnTo>
                <a:lnTo>
                  <a:pt x="214" y="1170"/>
                </a:lnTo>
                <a:lnTo>
                  <a:pt x="214" y="1170"/>
                </a:lnTo>
                <a:lnTo>
                  <a:pt x="216" y="1162"/>
                </a:lnTo>
                <a:lnTo>
                  <a:pt x="216" y="1162"/>
                </a:lnTo>
                <a:lnTo>
                  <a:pt x="218" y="1152"/>
                </a:lnTo>
                <a:lnTo>
                  <a:pt x="218" y="1152"/>
                </a:lnTo>
                <a:lnTo>
                  <a:pt x="226" y="1112"/>
                </a:lnTo>
                <a:lnTo>
                  <a:pt x="226" y="1112"/>
                </a:lnTo>
                <a:lnTo>
                  <a:pt x="230" y="1086"/>
                </a:lnTo>
                <a:lnTo>
                  <a:pt x="230" y="1086"/>
                </a:lnTo>
                <a:lnTo>
                  <a:pt x="236" y="1062"/>
                </a:lnTo>
                <a:lnTo>
                  <a:pt x="236" y="1062"/>
                </a:lnTo>
                <a:lnTo>
                  <a:pt x="244" y="1016"/>
                </a:lnTo>
                <a:lnTo>
                  <a:pt x="244" y="1016"/>
                </a:lnTo>
                <a:lnTo>
                  <a:pt x="254" y="952"/>
                </a:lnTo>
                <a:lnTo>
                  <a:pt x="254" y="952"/>
                </a:lnTo>
                <a:lnTo>
                  <a:pt x="264" y="892"/>
                </a:lnTo>
                <a:lnTo>
                  <a:pt x="264" y="892"/>
                </a:lnTo>
                <a:lnTo>
                  <a:pt x="268" y="866"/>
                </a:lnTo>
                <a:lnTo>
                  <a:pt x="268" y="866"/>
                </a:lnTo>
                <a:lnTo>
                  <a:pt x="270" y="860"/>
                </a:lnTo>
                <a:lnTo>
                  <a:pt x="270" y="860"/>
                </a:lnTo>
                <a:lnTo>
                  <a:pt x="272" y="864"/>
                </a:lnTo>
                <a:lnTo>
                  <a:pt x="272" y="864"/>
                </a:lnTo>
                <a:lnTo>
                  <a:pt x="276" y="880"/>
                </a:lnTo>
                <a:lnTo>
                  <a:pt x="276" y="880"/>
                </a:lnTo>
                <a:lnTo>
                  <a:pt x="282" y="896"/>
                </a:lnTo>
                <a:lnTo>
                  <a:pt x="282" y="896"/>
                </a:lnTo>
                <a:lnTo>
                  <a:pt x="284" y="900"/>
                </a:lnTo>
                <a:lnTo>
                  <a:pt x="284" y="900"/>
                </a:lnTo>
                <a:lnTo>
                  <a:pt x="284" y="908"/>
                </a:lnTo>
                <a:lnTo>
                  <a:pt x="284" y="908"/>
                </a:lnTo>
                <a:lnTo>
                  <a:pt x="288" y="928"/>
                </a:lnTo>
                <a:lnTo>
                  <a:pt x="288" y="928"/>
                </a:lnTo>
                <a:lnTo>
                  <a:pt x="292" y="940"/>
                </a:lnTo>
                <a:lnTo>
                  <a:pt x="292" y="940"/>
                </a:lnTo>
                <a:lnTo>
                  <a:pt x="294" y="950"/>
                </a:lnTo>
                <a:lnTo>
                  <a:pt x="294" y="950"/>
                </a:lnTo>
                <a:lnTo>
                  <a:pt x="296" y="962"/>
                </a:lnTo>
                <a:lnTo>
                  <a:pt x="296" y="962"/>
                </a:lnTo>
                <a:lnTo>
                  <a:pt x="294" y="978"/>
                </a:lnTo>
                <a:lnTo>
                  <a:pt x="294" y="978"/>
                </a:lnTo>
                <a:lnTo>
                  <a:pt x="292" y="994"/>
                </a:lnTo>
                <a:lnTo>
                  <a:pt x="292" y="994"/>
                </a:lnTo>
                <a:lnTo>
                  <a:pt x="294" y="1008"/>
                </a:lnTo>
                <a:lnTo>
                  <a:pt x="294" y="1008"/>
                </a:lnTo>
                <a:lnTo>
                  <a:pt x="294" y="1026"/>
                </a:lnTo>
                <a:lnTo>
                  <a:pt x="294" y="1026"/>
                </a:lnTo>
                <a:lnTo>
                  <a:pt x="296" y="1048"/>
                </a:lnTo>
                <a:lnTo>
                  <a:pt x="296" y="1048"/>
                </a:lnTo>
                <a:lnTo>
                  <a:pt x="296" y="1068"/>
                </a:lnTo>
                <a:lnTo>
                  <a:pt x="296" y="1068"/>
                </a:lnTo>
                <a:lnTo>
                  <a:pt x="294" y="1078"/>
                </a:lnTo>
                <a:lnTo>
                  <a:pt x="294" y="1078"/>
                </a:lnTo>
                <a:lnTo>
                  <a:pt x="294" y="1086"/>
                </a:lnTo>
                <a:lnTo>
                  <a:pt x="294" y="1096"/>
                </a:lnTo>
                <a:lnTo>
                  <a:pt x="294" y="1096"/>
                </a:lnTo>
                <a:lnTo>
                  <a:pt x="296" y="1112"/>
                </a:lnTo>
                <a:lnTo>
                  <a:pt x="296" y="1112"/>
                </a:lnTo>
                <a:lnTo>
                  <a:pt x="298" y="1126"/>
                </a:lnTo>
                <a:lnTo>
                  <a:pt x="298" y="1126"/>
                </a:lnTo>
                <a:lnTo>
                  <a:pt x="300" y="1132"/>
                </a:lnTo>
                <a:lnTo>
                  <a:pt x="300" y="1132"/>
                </a:lnTo>
                <a:lnTo>
                  <a:pt x="296" y="1146"/>
                </a:lnTo>
                <a:lnTo>
                  <a:pt x="296" y="1146"/>
                </a:lnTo>
                <a:lnTo>
                  <a:pt x="292" y="1160"/>
                </a:lnTo>
                <a:lnTo>
                  <a:pt x="292" y="1160"/>
                </a:lnTo>
                <a:lnTo>
                  <a:pt x="286" y="1180"/>
                </a:lnTo>
                <a:lnTo>
                  <a:pt x="286" y="1180"/>
                </a:lnTo>
                <a:lnTo>
                  <a:pt x="282" y="1194"/>
                </a:lnTo>
                <a:lnTo>
                  <a:pt x="280" y="1212"/>
                </a:lnTo>
                <a:lnTo>
                  <a:pt x="280" y="1212"/>
                </a:lnTo>
                <a:lnTo>
                  <a:pt x="278" y="1226"/>
                </a:lnTo>
                <a:lnTo>
                  <a:pt x="280" y="1234"/>
                </a:lnTo>
                <a:lnTo>
                  <a:pt x="280" y="1234"/>
                </a:lnTo>
                <a:lnTo>
                  <a:pt x="284" y="1244"/>
                </a:lnTo>
                <a:lnTo>
                  <a:pt x="284" y="1244"/>
                </a:lnTo>
                <a:lnTo>
                  <a:pt x="288" y="1252"/>
                </a:lnTo>
                <a:lnTo>
                  <a:pt x="288" y="1252"/>
                </a:lnTo>
                <a:lnTo>
                  <a:pt x="290" y="1254"/>
                </a:lnTo>
                <a:lnTo>
                  <a:pt x="290" y="1254"/>
                </a:lnTo>
                <a:lnTo>
                  <a:pt x="290" y="1254"/>
                </a:lnTo>
                <a:lnTo>
                  <a:pt x="290" y="1256"/>
                </a:lnTo>
                <a:lnTo>
                  <a:pt x="290" y="1256"/>
                </a:lnTo>
                <a:lnTo>
                  <a:pt x="296" y="1264"/>
                </a:lnTo>
                <a:lnTo>
                  <a:pt x="296" y="1264"/>
                </a:lnTo>
                <a:lnTo>
                  <a:pt x="302" y="1272"/>
                </a:lnTo>
                <a:lnTo>
                  <a:pt x="302" y="1272"/>
                </a:lnTo>
                <a:lnTo>
                  <a:pt x="304" y="1278"/>
                </a:lnTo>
                <a:lnTo>
                  <a:pt x="304" y="1278"/>
                </a:lnTo>
                <a:lnTo>
                  <a:pt x="304" y="1278"/>
                </a:lnTo>
                <a:lnTo>
                  <a:pt x="304" y="1278"/>
                </a:lnTo>
                <a:lnTo>
                  <a:pt x="304" y="1286"/>
                </a:lnTo>
                <a:lnTo>
                  <a:pt x="304" y="1286"/>
                </a:lnTo>
                <a:lnTo>
                  <a:pt x="304" y="1290"/>
                </a:lnTo>
                <a:lnTo>
                  <a:pt x="306" y="1292"/>
                </a:lnTo>
                <a:lnTo>
                  <a:pt x="306" y="1292"/>
                </a:lnTo>
                <a:lnTo>
                  <a:pt x="312" y="1296"/>
                </a:lnTo>
                <a:lnTo>
                  <a:pt x="312" y="1296"/>
                </a:lnTo>
                <a:lnTo>
                  <a:pt x="318" y="1298"/>
                </a:lnTo>
                <a:lnTo>
                  <a:pt x="318" y="1298"/>
                </a:lnTo>
                <a:lnTo>
                  <a:pt x="320" y="1298"/>
                </a:lnTo>
                <a:lnTo>
                  <a:pt x="320" y="1298"/>
                </a:lnTo>
                <a:lnTo>
                  <a:pt x="322" y="1300"/>
                </a:lnTo>
                <a:lnTo>
                  <a:pt x="322" y="1300"/>
                </a:lnTo>
                <a:lnTo>
                  <a:pt x="322" y="1302"/>
                </a:lnTo>
                <a:lnTo>
                  <a:pt x="322" y="1302"/>
                </a:lnTo>
                <a:lnTo>
                  <a:pt x="322" y="1304"/>
                </a:lnTo>
                <a:lnTo>
                  <a:pt x="322" y="1304"/>
                </a:lnTo>
                <a:lnTo>
                  <a:pt x="322" y="1306"/>
                </a:lnTo>
                <a:lnTo>
                  <a:pt x="322" y="1308"/>
                </a:lnTo>
                <a:lnTo>
                  <a:pt x="322" y="1308"/>
                </a:lnTo>
                <a:lnTo>
                  <a:pt x="324" y="1310"/>
                </a:lnTo>
                <a:lnTo>
                  <a:pt x="330" y="1314"/>
                </a:lnTo>
                <a:lnTo>
                  <a:pt x="330" y="1314"/>
                </a:lnTo>
                <a:lnTo>
                  <a:pt x="338" y="1316"/>
                </a:lnTo>
                <a:lnTo>
                  <a:pt x="352" y="1316"/>
                </a:lnTo>
                <a:lnTo>
                  <a:pt x="352" y="1316"/>
                </a:lnTo>
                <a:lnTo>
                  <a:pt x="380" y="1314"/>
                </a:lnTo>
                <a:lnTo>
                  <a:pt x="380" y="1314"/>
                </a:lnTo>
                <a:lnTo>
                  <a:pt x="388" y="1312"/>
                </a:lnTo>
                <a:lnTo>
                  <a:pt x="392" y="1310"/>
                </a:lnTo>
                <a:lnTo>
                  <a:pt x="392" y="1310"/>
                </a:lnTo>
                <a:lnTo>
                  <a:pt x="392" y="1306"/>
                </a:lnTo>
                <a:lnTo>
                  <a:pt x="392" y="1306"/>
                </a:lnTo>
                <a:lnTo>
                  <a:pt x="392" y="1302"/>
                </a:lnTo>
                <a:lnTo>
                  <a:pt x="392" y="1302"/>
                </a:lnTo>
                <a:lnTo>
                  <a:pt x="390" y="1302"/>
                </a:lnTo>
                <a:lnTo>
                  <a:pt x="390" y="1302"/>
                </a:lnTo>
                <a:lnTo>
                  <a:pt x="392" y="1300"/>
                </a:lnTo>
                <a:lnTo>
                  <a:pt x="390" y="1294"/>
                </a:lnTo>
                <a:lnTo>
                  <a:pt x="390" y="1294"/>
                </a:lnTo>
                <a:lnTo>
                  <a:pt x="388" y="1288"/>
                </a:lnTo>
                <a:lnTo>
                  <a:pt x="386" y="1284"/>
                </a:lnTo>
                <a:lnTo>
                  <a:pt x="386" y="1284"/>
                </a:lnTo>
                <a:lnTo>
                  <a:pt x="384" y="1276"/>
                </a:lnTo>
                <a:lnTo>
                  <a:pt x="384" y="1276"/>
                </a:lnTo>
                <a:lnTo>
                  <a:pt x="382" y="1276"/>
                </a:lnTo>
                <a:lnTo>
                  <a:pt x="382" y="1276"/>
                </a:lnTo>
                <a:lnTo>
                  <a:pt x="380" y="1272"/>
                </a:lnTo>
                <a:lnTo>
                  <a:pt x="380" y="1272"/>
                </a:lnTo>
                <a:lnTo>
                  <a:pt x="380" y="1268"/>
                </a:lnTo>
                <a:lnTo>
                  <a:pt x="380" y="1268"/>
                </a:lnTo>
                <a:lnTo>
                  <a:pt x="380" y="1268"/>
                </a:lnTo>
                <a:lnTo>
                  <a:pt x="382" y="1264"/>
                </a:lnTo>
                <a:lnTo>
                  <a:pt x="382" y="1264"/>
                </a:lnTo>
                <a:lnTo>
                  <a:pt x="380" y="1258"/>
                </a:lnTo>
                <a:lnTo>
                  <a:pt x="380" y="1258"/>
                </a:lnTo>
                <a:lnTo>
                  <a:pt x="382" y="1254"/>
                </a:lnTo>
                <a:lnTo>
                  <a:pt x="382" y="1254"/>
                </a:lnTo>
                <a:lnTo>
                  <a:pt x="382" y="1250"/>
                </a:lnTo>
                <a:lnTo>
                  <a:pt x="382" y="1250"/>
                </a:lnTo>
                <a:lnTo>
                  <a:pt x="382" y="1248"/>
                </a:lnTo>
                <a:lnTo>
                  <a:pt x="382" y="1248"/>
                </a:lnTo>
                <a:lnTo>
                  <a:pt x="384" y="1246"/>
                </a:lnTo>
                <a:lnTo>
                  <a:pt x="384" y="1246"/>
                </a:lnTo>
                <a:lnTo>
                  <a:pt x="384" y="1242"/>
                </a:lnTo>
                <a:lnTo>
                  <a:pt x="384" y="1242"/>
                </a:lnTo>
                <a:lnTo>
                  <a:pt x="386" y="1240"/>
                </a:lnTo>
                <a:lnTo>
                  <a:pt x="386" y="1234"/>
                </a:lnTo>
                <a:lnTo>
                  <a:pt x="386" y="1234"/>
                </a:lnTo>
                <a:lnTo>
                  <a:pt x="388" y="1224"/>
                </a:lnTo>
                <a:lnTo>
                  <a:pt x="388" y="1224"/>
                </a:lnTo>
                <a:lnTo>
                  <a:pt x="392" y="1206"/>
                </a:lnTo>
                <a:lnTo>
                  <a:pt x="392" y="1206"/>
                </a:lnTo>
                <a:lnTo>
                  <a:pt x="394" y="1192"/>
                </a:lnTo>
                <a:lnTo>
                  <a:pt x="398" y="1174"/>
                </a:lnTo>
                <a:lnTo>
                  <a:pt x="398" y="1174"/>
                </a:lnTo>
                <a:lnTo>
                  <a:pt x="400" y="1150"/>
                </a:lnTo>
                <a:lnTo>
                  <a:pt x="400" y="1150"/>
                </a:lnTo>
                <a:lnTo>
                  <a:pt x="404" y="1110"/>
                </a:lnTo>
                <a:lnTo>
                  <a:pt x="404" y="1110"/>
                </a:lnTo>
                <a:lnTo>
                  <a:pt x="408" y="1054"/>
                </a:lnTo>
                <a:lnTo>
                  <a:pt x="408" y="1054"/>
                </a:lnTo>
                <a:lnTo>
                  <a:pt x="410" y="1020"/>
                </a:lnTo>
                <a:lnTo>
                  <a:pt x="410" y="1020"/>
                </a:lnTo>
                <a:lnTo>
                  <a:pt x="414" y="1002"/>
                </a:lnTo>
                <a:lnTo>
                  <a:pt x="414" y="1002"/>
                </a:lnTo>
                <a:lnTo>
                  <a:pt x="424" y="966"/>
                </a:lnTo>
                <a:lnTo>
                  <a:pt x="424" y="966"/>
                </a:lnTo>
                <a:lnTo>
                  <a:pt x="428" y="944"/>
                </a:lnTo>
                <a:lnTo>
                  <a:pt x="432" y="922"/>
                </a:lnTo>
                <a:lnTo>
                  <a:pt x="432" y="922"/>
                </a:lnTo>
                <a:lnTo>
                  <a:pt x="434" y="886"/>
                </a:lnTo>
                <a:lnTo>
                  <a:pt x="434" y="886"/>
                </a:lnTo>
                <a:lnTo>
                  <a:pt x="436" y="862"/>
                </a:lnTo>
                <a:lnTo>
                  <a:pt x="436" y="862"/>
                </a:lnTo>
                <a:lnTo>
                  <a:pt x="436" y="842"/>
                </a:lnTo>
                <a:lnTo>
                  <a:pt x="436" y="842"/>
                </a:lnTo>
                <a:lnTo>
                  <a:pt x="440" y="792"/>
                </a:lnTo>
                <a:lnTo>
                  <a:pt x="440" y="792"/>
                </a:lnTo>
                <a:lnTo>
                  <a:pt x="444" y="756"/>
                </a:lnTo>
                <a:lnTo>
                  <a:pt x="444" y="756"/>
                </a:lnTo>
                <a:lnTo>
                  <a:pt x="446" y="722"/>
                </a:lnTo>
                <a:lnTo>
                  <a:pt x="446" y="722"/>
                </a:lnTo>
                <a:lnTo>
                  <a:pt x="448" y="698"/>
                </a:lnTo>
                <a:lnTo>
                  <a:pt x="448" y="698"/>
                </a:lnTo>
                <a:lnTo>
                  <a:pt x="448" y="692"/>
                </a:lnTo>
                <a:lnTo>
                  <a:pt x="448" y="692"/>
                </a:lnTo>
                <a:lnTo>
                  <a:pt x="450" y="686"/>
                </a:lnTo>
                <a:lnTo>
                  <a:pt x="450" y="686"/>
                </a:lnTo>
                <a:lnTo>
                  <a:pt x="450" y="680"/>
                </a:lnTo>
                <a:lnTo>
                  <a:pt x="450" y="678"/>
                </a:lnTo>
                <a:lnTo>
                  <a:pt x="450" y="678"/>
                </a:lnTo>
                <a:lnTo>
                  <a:pt x="454" y="678"/>
                </a:lnTo>
                <a:lnTo>
                  <a:pt x="454" y="678"/>
                </a:lnTo>
                <a:lnTo>
                  <a:pt x="458" y="674"/>
                </a:lnTo>
                <a:lnTo>
                  <a:pt x="458" y="674"/>
                </a:lnTo>
                <a:lnTo>
                  <a:pt x="460" y="672"/>
                </a:lnTo>
                <a:lnTo>
                  <a:pt x="460" y="672"/>
                </a:lnTo>
                <a:lnTo>
                  <a:pt x="460" y="674"/>
                </a:lnTo>
                <a:lnTo>
                  <a:pt x="460" y="674"/>
                </a:lnTo>
                <a:lnTo>
                  <a:pt x="462" y="680"/>
                </a:lnTo>
                <a:lnTo>
                  <a:pt x="462" y="680"/>
                </a:lnTo>
                <a:lnTo>
                  <a:pt x="462" y="682"/>
                </a:lnTo>
                <a:lnTo>
                  <a:pt x="462" y="680"/>
                </a:lnTo>
                <a:lnTo>
                  <a:pt x="462" y="680"/>
                </a:lnTo>
                <a:lnTo>
                  <a:pt x="470" y="670"/>
                </a:lnTo>
                <a:lnTo>
                  <a:pt x="470" y="670"/>
                </a:lnTo>
                <a:lnTo>
                  <a:pt x="476" y="658"/>
                </a:lnTo>
                <a:lnTo>
                  <a:pt x="476" y="658"/>
                </a:lnTo>
                <a:lnTo>
                  <a:pt x="480" y="654"/>
                </a:lnTo>
                <a:lnTo>
                  <a:pt x="480" y="654"/>
                </a:lnTo>
                <a:lnTo>
                  <a:pt x="482" y="650"/>
                </a:lnTo>
                <a:lnTo>
                  <a:pt x="482" y="650"/>
                </a:lnTo>
                <a:lnTo>
                  <a:pt x="486" y="644"/>
                </a:lnTo>
                <a:lnTo>
                  <a:pt x="486" y="644"/>
                </a:lnTo>
                <a:lnTo>
                  <a:pt x="488" y="642"/>
                </a:lnTo>
                <a:lnTo>
                  <a:pt x="488" y="642"/>
                </a:lnTo>
                <a:lnTo>
                  <a:pt x="492" y="638"/>
                </a:lnTo>
                <a:lnTo>
                  <a:pt x="492" y="638"/>
                </a:lnTo>
                <a:lnTo>
                  <a:pt x="494" y="634"/>
                </a:lnTo>
                <a:lnTo>
                  <a:pt x="494" y="634"/>
                </a:lnTo>
                <a:lnTo>
                  <a:pt x="496" y="630"/>
                </a:lnTo>
                <a:lnTo>
                  <a:pt x="500" y="622"/>
                </a:lnTo>
                <a:lnTo>
                  <a:pt x="500" y="622"/>
                </a:lnTo>
                <a:lnTo>
                  <a:pt x="502" y="606"/>
                </a:lnTo>
                <a:lnTo>
                  <a:pt x="502" y="606"/>
                </a:lnTo>
                <a:lnTo>
                  <a:pt x="504" y="594"/>
                </a:lnTo>
                <a:lnTo>
                  <a:pt x="504" y="594"/>
                </a:lnTo>
                <a:lnTo>
                  <a:pt x="504" y="586"/>
                </a:lnTo>
                <a:lnTo>
                  <a:pt x="504" y="586"/>
                </a:lnTo>
                <a:lnTo>
                  <a:pt x="502" y="576"/>
                </a:lnTo>
                <a:lnTo>
                  <a:pt x="502" y="576"/>
                </a:lnTo>
                <a:lnTo>
                  <a:pt x="504" y="568"/>
                </a:lnTo>
                <a:lnTo>
                  <a:pt x="504" y="568"/>
                </a:lnTo>
                <a:lnTo>
                  <a:pt x="506" y="558"/>
                </a:lnTo>
                <a:lnTo>
                  <a:pt x="506" y="558"/>
                </a:lnTo>
                <a:lnTo>
                  <a:pt x="510" y="546"/>
                </a:lnTo>
                <a:lnTo>
                  <a:pt x="510" y="546"/>
                </a:lnTo>
                <a:lnTo>
                  <a:pt x="512" y="532"/>
                </a:lnTo>
                <a:lnTo>
                  <a:pt x="512" y="532"/>
                </a:lnTo>
                <a:lnTo>
                  <a:pt x="514" y="522"/>
                </a:lnTo>
                <a:lnTo>
                  <a:pt x="514" y="522"/>
                </a:lnTo>
                <a:lnTo>
                  <a:pt x="514" y="512"/>
                </a:lnTo>
                <a:lnTo>
                  <a:pt x="514" y="512"/>
                </a:lnTo>
                <a:lnTo>
                  <a:pt x="514" y="502"/>
                </a:lnTo>
                <a:lnTo>
                  <a:pt x="514" y="502"/>
                </a:lnTo>
                <a:close/>
                <a:moveTo>
                  <a:pt x="96" y="720"/>
                </a:moveTo>
                <a:lnTo>
                  <a:pt x="96" y="720"/>
                </a:lnTo>
                <a:lnTo>
                  <a:pt x="98" y="718"/>
                </a:lnTo>
                <a:lnTo>
                  <a:pt x="98" y="718"/>
                </a:lnTo>
                <a:lnTo>
                  <a:pt x="100" y="716"/>
                </a:lnTo>
                <a:lnTo>
                  <a:pt x="100" y="716"/>
                </a:lnTo>
                <a:lnTo>
                  <a:pt x="106" y="714"/>
                </a:lnTo>
                <a:lnTo>
                  <a:pt x="106" y="714"/>
                </a:lnTo>
                <a:lnTo>
                  <a:pt x="108" y="718"/>
                </a:lnTo>
                <a:lnTo>
                  <a:pt x="108" y="718"/>
                </a:lnTo>
                <a:lnTo>
                  <a:pt x="108" y="722"/>
                </a:lnTo>
                <a:lnTo>
                  <a:pt x="108" y="722"/>
                </a:lnTo>
                <a:lnTo>
                  <a:pt x="110" y="728"/>
                </a:lnTo>
                <a:lnTo>
                  <a:pt x="110" y="728"/>
                </a:lnTo>
                <a:lnTo>
                  <a:pt x="112" y="732"/>
                </a:lnTo>
                <a:lnTo>
                  <a:pt x="112" y="732"/>
                </a:lnTo>
                <a:lnTo>
                  <a:pt x="110" y="732"/>
                </a:lnTo>
                <a:lnTo>
                  <a:pt x="110" y="732"/>
                </a:lnTo>
                <a:lnTo>
                  <a:pt x="106" y="732"/>
                </a:lnTo>
                <a:lnTo>
                  <a:pt x="106" y="732"/>
                </a:lnTo>
                <a:lnTo>
                  <a:pt x="106" y="730"/>
                </a:lnTo>
                <a:lnTo>
                  <a:pt x="106" y="730"/>
                </a:lnTo>
                <a:lnTo>
                  <a:pt x="104" y="728"/>
                </a:lnTo>
                <a:lnTo>
                  <a:pt x="104" y="728"/>
                </a:lnTo>
                <a:lnTo>
                  <a:pt x="100" y="728"/>
                </a:lnTo>
                <a:lnTo>
                  <a:pt x="100" y="728"/>
                </a:lnTo>
                <a:lnTo>
                  <a:pt x="98" y="724"/>
                </a:lnTo>
                <a:lnTo>
                  <a:pt x="98" y="724"/>
                </a:lnTo>
                <a:lnTo>
                  <a:pt x="98" y="722"/>
                </a:lnTo>
                <a:lnTo>
                  <a:pt x="96" y="720"/>
                </a:lnTo>
                <a:lnTo>
                  <a:pt x="96" y="720"/>
                </a:lnTo>
                <a:lnTo>
                  <a:pt x="96" y="720"/>
                </a:lnTo>
                <a:lnTo>
                  <a:pt x="96" y="720"/>
                </a:lnTo>
                <a:close/>
                <a:moveTo>
                  <a:pt x="106" y="742"/>
                </a:moveTo>
                <a:lnTo>
                  <a:pt x="106" y="742"/>
                </a:lnTo>
                <a:lnTo>
                  <a:pt x="104" y="744"/>
                </a:lnTo>
                <a:lnTo>
                  <a:pt x="104" y="744"/>
                </a:lnTo>
                <a:lnTo>
                  <a:pt x="102" y="742"/>
                </a:lnTo>
                <a:lnTo>
                  <a:pt x="104" y="740"/>
                </a:lnTo>
                <a:lnTo>
                  <a:pt x="104" y="740"/>
                </a:lnTo>
                <a:lnTo>
                  <a:pt x="106" y="740"/>
                </a:lnTo>
                <a:lnTo>
                  <a:pt x="106" y="742"/>
                </a:lnTo>
                <a:lnTo>
                  <a:pt x="106" y="742"/>
                </a:lnTo>
                <a:close/>
                <a:moveTo>
                  <a:pt x="96" y="802"/>
                </a:moveTo>
                <a:lnTo>
                  <a:pt x="96" y="802"/>
                </a:lnTo>
                <a:lnTo>
                  <a:pt x="94" y="800"/>
                </a:lnTo>
                <a:lnTo>
                  <a:pt x="94" y="800"/>
                </a:lnTo>
                <a:lnTo>
                  <a:pt x="92" y="798"/>
                </a:lnTo>
                <a:lnTo>
                  <a:pt x="92" y="798"/>
                </a:lnTo>
                <a:lnTo>
                  <a:pt x="92" y="800"/>
                </a:lnTo>
                <a:lnTo>
                  <a:pt x="90" y="800"/>
                </a:lnTo>
                <a:lnTo>
                  <a:pt x="90" y="800"/>
                </a:lnTo>
                <a:lnTo>
                  <a:pt x="88" y="800"/>
                </a:lnTo>
                <a:lnTo>
                  <a:pt x="88" y="800"/>
                </a:lnTo>
                <a:lnTo>
                  <a:pt x="86" y="800"/>
                </a:lnTo>
                <a:lnTo>
                  <a:pt x="86" y="800"/>
                </a:lnTo>
                <a:lnTo>
                  <a:pt x="80" y="802"/>
                </a:lnTo>
                <a:lnTo>
                  <a:pt x="80" y="802"/>
                </a:lnTo>
                <a:lnTo>
                  <a:pt x="82" y="798"/>
                </a:lnTo>
                <a:lnTo>
                  <a:pt x="82" y="798"/>
                </a:lnTo>
                <a:lnTo>
                  <a:pt x="90" y="778"/>
                </a:lnTo>
                <a:lnTo>
                  <a:pt x="90" y="778"/>
                </a:lnTo>
                <a:lnTo>
                  <a:pt x="96" y="764"/>
                </a:lnTo>
                <a:lnTo>
                  <a:pt x="96" y="764"/>
                </a:lnTo>
                <a:lnTo>
                  <a:pt x="98" y="766"/>
                </a:lnTo>
                <a:lnTo>
                  <a:pt x="98" y="766"/>
                </a:lnTo>
                <a:lnTo>
                  <a:pt x="100" y="764"/>
                </a:lnTo>
                <a:lnTo>
                  <a:pt x="100" y="764"/>
                </a:lnTo>
                <a:lnTo>
                  <a:pt x="100" y="768"/>
                </a:lnTo>
                <a:lnTo>
                  <a:pt x="100" y="768"/>
                </a:lnTo>
                <a:lnTo>
                  <a:pt x="100" y="782"/>
                </a:lnTo>
                <a:lnTo>
                  <a:pt x="100" y="782"/>
                </a:lnTo>
                <a:lnTo>
                  <a:pt x="102" y="802"/>
                </a:lnTo>
                <a:lnTo>
                  <a:pt x="102" y="802"/>
                </a:lnTo>
                <a:lnTo>
                  <a:pt x="102" y="804"/>
                </a:lnTo>
                <a:lnTo>
                  <a:pt x="102" y="804"/>
                </a:lnTo>
                <a:lnTo>
                  <a:pt x="98" y="802"/>
                </a:lnTo>
                <a:lnTo>
                  <a:pt x="98" y="802"/>
                </a:lnTo>
                <a:lnTo>
                  <a:pt x="96" y="802"/>
                </a:lnTo>
                <a:lnTo>
                  <a:pt x="96" y="802"/>
                </a:lnTo>
                <a:close/>
                <a:moveTo>
                  <a:pt x="108" y="1186"/>
                </a:moveTo>
                <a:lnTo>
                  <a:pt x="108" y="1186"/>
                </a:lnTo>
                <a:lnTo>
                  <a:pt x="106" y="1192"/>
                </a:lnTo>
                <a:lnTo>
                  <a:pt x="106" y="1192"/>
                </a:lnTo>
                <a:lnTo>
                  <a:pt x="104" y="1192"/>
                </a:lnTo>
                <a:lnTo>
                  <a:pt x="104" y="1192"/>
                </a:lnTo>
                <a:lnTo>
                  <a:pt x="104" y="1192"/>
                </a:lnTo>
                <a:lnTo>
                  <a:pt x="102" y="1190"/>
                </a:lnTo>
                <a:lnTo>
                  <a:pt x="102" y="1190"/>
                </a:lnTo>
                <a:lnTo>
                  <a:pt x="100" y="1186"/>
                </a:lnTo>
                <a:lnTo>
                  <a:pt x="100" y="1186"/>
                </a:lnTo>
                <a:lnTo>
                  <a:pt x="104" y="1184"/>
                </a:lnTo>
                <a:lnTo>
                  <a:pt x="104" y="1184"/>
                </a:lnTo>
                <a:lnTo>
                  <a:pt x="108" y="1184"/>
                </a:lnTo>
                <a:lnTo>
                  <a:pt x="108" y="1184"/>
                </a:lnTo>
                <a:lnTo>
                  <a:pt x="108" y="1186"/>
                </a:lnTo>
                <a:lnTo>
                  <a:pt x="108" y="1186"/>
                </a:lnTo>
                <a:close/>
                <a:moveTo>
                  <a:pt x="128" y="744"/>
                </a:moveTo>
                <a:lnTo>
                  <a:pt x="128" y="744"/>
                </a:lnTo>
                <a:lnTo>
                  <a:pt x="124" y="754"/>
                </a:lnTo>
                <a:lnTo>
                  <a:pt x="124" y="754"/>
                </a:lnTo>
                <a:lnTo>
                  <a:pt x="122" y="768"/>
                </a:lnTo>
                <a:lnTo>
                  <a:pt x="122" y="768"/>
                </a:lnTo>
                <a:lnTo>
                  <a:pt x="120" y="778"/>
                </a:lnTo>
                <a:lnTo>
                  <a:pt x="120" y="778"/>
                </a:lnTo>
                <a:lnTo>
                  <a:pt x="118" y="790"/>
                </a:lnTo>
                <a:lnTo>
                  <a:pt x="118" y="790"/>
                </a:lnTo>
                <a:lnTo>
                  <a:pt x="116" y="796"/>
                </a:lnTo>
                <a:lnTo>
                  <a:pt x="116" y="796"/>
                </a:lnTo>
                <a:lnTo>
                  <a:pt x="116" y="794"/>
                </a:lnTo>
                <a:lnTo>
                  <a:pt x="116" y="794"/>
                </a:lnTo>
                <a:lnTo>
                  <a:pt x="116" y="786"/>
                </a:lnTo>
                <a:lnTo>
                  <a:pt x="116" y="786"/>
                </a:lnTo>
                <a:lnTo>
                  <a:pt x="116" y="782"/>
                </a:lnTo>
                <a:lnTo>
                  <a:pt x="116" y="782"/>
                </a:lnTo>
                <a:lnTo>
                  <a:pt x="116" y="774"/>
                </a:lnTo>
                <a:lnTo>
                  <a:pt x="116" y="774"/>
                </a:lnTo>
                <a:lnTo>
                  <a:pt x="116" y="770"/>
                </a:lnTo>
                <a:lnTo>
                  <a:pt x="116" y="770"/>
                </a:lnTo>
                <a:lnTo>
                  <a:pt x="116" y="766"/>
                </a:lnTo>
                <a:lnTo>
                  <a:pt x="116" y="766"/>
                </a:lnTo>
                <a:lnTo>
                  <a:pt x="114" y="764"/>
                </a:lnTo>
                <a:lnTo>
                  <a:pt x="114" y="764"/>
                </a:lnTo>
                <a:lnTo>
                  <a:pt x="114" y="760"/>
                </a:lnTo>
                <a:lnTo>
                  <a:pt x="114" y="760"/>
                </a:lnTo>
                <a:lnTo>
                  <a:pt x="114" y="758"/>
                </a:lnTo>
                <a:lnTo>
                  <a:pt x="114" y="758"/>
                </a:lnTo>
                <a:lnTo>
                  <a:pt x="114" y="758"/>
                </a:lnTo>
                <a:lnTo>
                  <a:pt x="114" y="758"/>
                </a:lnTo>
                <a:lnTo>
                  <a:pt x="118" y="756"/>
                </a:lnTo>
                <a:lnTo>
                  <a:pt x="118" y="756"/>
                </a:lnTo>
                <a:lnTo>
                  <a:pt x="120" y="754"/>
                </a:lnTo>
                <a:lnTo>
                  <a:pt x="122" y="752"/>
                </a:lnTo>
                <a:lnTo>
                  <a:pt x="122" y="752"/>
                </a:lnTo>
                <a:lnTo>
                  <a:pt x="122" y="750"/>
                </a:lnTo>
                <a:lnTo>
                  <a:pt x="122" y="748"/>
                </a:lnTo>
                <a:lnTo>
                  <a:pt x="118" y="746"/>
                </a:lnTo>
                <a:lnTo>
                  <a:pt x="118" y="746"/>
                </a:lnTo>
                <a:lnTo>
                  <a:pt x="114" y="746"/>
                </a:lnTo>
                <a:lnTo>
                  <a:pt x="114" y="746"/>
                </a:lnTo>
                <a:lnTo>
                  <a:pt x="112" y="746"/>
                </a:lnTo>
                <a:lnTo>
                  <a:pt x="112" y="746"/>
                </a:lnTo>
                <a:lnTo>
                  <a:pt x="112" y="744"/>
                </a:lnTo>
                <a:lnTo>
                  <a:pt x="112" y="744"/>
                </a:lnTo>
                <a:lnTo>
                  <a:pt x="110" y="744"/>
                </a:lnTo>
                <a:lnTo>
                  <a:pt x="110" y="744"/>
                </a:lnTo>
                <a:lnTo>
                  <a:pt x="108" y="742"/>
                </a:lnTo>
                <a:lnTo>
                  <a:pt x="108" y="742"/>
                </a:lnTo>
                <a:lnTo>
                  <a:pt x="110" y="742"/>
                </a:lnTo>
                <a:lnTo>
                  <a:pt x="110" y="742"/>
                </a:lnTo>
                <a:lnTo>
                  <a:pt x="116" y="740"/>
                </a:lnTo>
                <a:lnTo>
                  <a:pt x="116" y="740"/>
                </a:lnTo>
                <a:lnTo>
                  <a:pt x="118" y="742"/>
                </a:lnTo>
                <a:lnTo>
                  <a:pt x="118" y="742"/>
                </a:lnTo>
                <a:lnTo>
                  <a:pt x="122" y="744"/>
                </a:lnTo>
                <a:lnTo>
                  <a:pt x="122" y="744"/>
                </a:lnTo>
                <a:lnTo>
                  <a:pt x="126" y="744"/>
                </a:lnTo>
                <a:lnTo>
                  <a:pt x="126" y="744"/>
                </a:lnTo>
                <a:lnTo>
                  <a:pt x="128" y="742"/>
                </a:lnTo>
                <a:lnTo>
                  <a:pt x="128" y="742"/>
                </a:lnTo>
                <a:lnTo>
                  <a:pt x="128" y="744"/>
                </a:lnTo>
                <a:lnTo>
                  <a:pt x="128" y="744"/>
                </a:lnTo>
                <a:close/>
                <a:moveTo>
                  <a:pt x="144" y="618"/>
                </a:moveTo>
                <a:lnTo>
                  <a:pt x="144" y="618"/>
                </a:lnTo>
                <a:lnTo>
                  <a:pt x="140" y="634"/>
                </a:lnTo>
                <a:lnTo>
                  <a:pt x="140" y="634"/>
                </a:lnTo>
                <a:lnTo>
                  <a:pt x="138" y="644"/>
                </a:lnTo>
                <a:lnTo>
                  <a:pt x="136" y="652"/>
                </a:lnTo>
                <a:lnTo>
                  <a:pt x="136" y="652"/>
                </a:lnTo>
                <a:lnTo>
                  <a:pt x="136" y="664"/>
                </a:lnTo>
                <a:lnTo>
                  <a:pt x="136" y="664"/>
                </a:lnTo>
                <a:lnTo>
                  <a:pt x="134" y="672"/>
                </a:lnTo>
                <a:lnTo>
                  <a:pt x="134" y="672"/>
                </a:lnTo>
                <a:lnTo>
                  <a:pt x="136" y="682"/>
                </a:lnTo>
                <a:lnTo>
                  <a:pt x="136" y="682"/>
                </a:lnTo>
                <a:lnTo>
                  <a:pt x="136" y="686"/>
                </a:lnTo>
                <a:lnTo>
                  <a:pt x="136" y="690"/>
                </a:lnTo>
                <a:lnTo>
                  <a:pt x="136" y="690"/>
                </a:lnTo>
                <a:lnTo>
                  <a:pt x="130" y="704"/>
                </a:lnTo>
                <a:lnTo>
                  <a:pt x="130" y="704"/>
                </a:lnTo>
                <a:lnTo>
                  <a:pt x="128" y="720"/>
                </a:lnTo>
                <a:lnTo>
                  <a:pt x="128" y="720"/>
                </a:lnTo>
                <a:lnTo>
                  <a:pt x="128" y="724"/>
                </a:lnTo>
                <a:lnTo>
                  <a:pt x="128" y="724"/>
                </a:lnTo>
                <a:lnTo>
                  <a:pt x="126" y="718"/>
                </a:lnTo>
                <a:lnTo>
                  <a:pt x="126" y="718"/>
                </a:lnTo>
                <a:lnTo>
                  <a:pt x="122" y="710"/>
                </a:lnTo>
                <a:lnTo>
                  <a:pt x="122" y="710"/>
                </a:lnTo>
                <a:lnTo>
                  <a:pt x="122" y="700"/>
                </a:lnTo>
                <a:lnTo>
                  <a:pt x="122" y="700"/>
                </a:lnTo>
                <a:lnTo>
                  <a:pt x="122" y="694"/>
                </a:lnTo>
                <a:lnTo>
                  <a:pt x="122" y="694"/>
                </a:lnTo>
                <a:lnTo>
                  <a:pt x="122" y="688"/>
                </a:lnTo>
                <a:lnTo>
                  <a:pt x="122" y="688"/>
                </a:lnTo>
                <a:lnTo>
                  <a:pt x="120" y="682"/>
                </a:lnTo>
                <a:lnTo>
                  <a:pt x="120" y="682"/>
                </a:lnTo>
                <a:lnTo>
                  <a:pt x="118" y="676"/>
                </a:lnTo>
                <a:lnTo>
                  <a:pt x="118" y="676"/>
                </a:lnTo>
                <a:lnTo>
                  <a:pt x="120" y="676"/>
                </a:lnTo>
                <a:lnTo>
                  <a:pt x="120" y="676"/>
                </a:lnTo>
                <a:lnTo>
                  <a:pt x="120" y="674"/>
                </a:lnTo>
                <a:lnTo>
                  <a:pt x="120" y="674"/>
                </a:lnTo>
                <a:lnTo>
                  <a:pt x="120" y="668"/>
                </a:lnTo>
                <a:lnTo>
                  <a:pt x="120" y="668"/>
                </a:lnTo>
                <a:lnTo>
                  <a:pt x="122" y="668"/>
                </a:lnTo>
                <a:lnTo>
                  <a:pt x="122" y="668"/>
                </a:lnTo>
                <a:lnTo>
                  <a:pt x="124" y="668"/>
                </a:lnTo>
                <a:lnTo>
                  <a:pt x="126" y="666"/>
                </a:lnTo>
                <a:lnTo>
                  <a:pt x="126" y="666"/>
                </a:lnTo>
                <a:lnTo>
                  <a:pt x="128" y="658"/>
                </a:lnTo>
                <a:lnTo>
                  <a:pt x="128" y="658"/>
                </a:lnTo>
                <a:lnTo>
                  <a:pt x="130" y="650"/>
                </a:lnTo>
                <a:lnTo>
                  <a:pt x="130" y="650"/>
                </a:lnTo>
                <a:lnTo>
                  <a:pt x="134" y="636"/>
                </a:lnTo>
                <a:lnTo>
                  <a:pt x="134" y="636"/>
                </a:lnTo>
                <a:lnTo>
                  <a:pt x="138" y="620"/>
                </a:lnTo>
                <a:lnTo>
                  <a:pt x="138" y="620"/>
                </a:lnTo>
                <a:lnTo>
                  <a:pt x="142" y="606"/>
                </a:lnTo>
                <a:lnTo>
                  <a:pt x="142" y="606"/>
                </a:lnTo>
                <a:lnTo>
                  <a:pt x="144" y="610"/>
                </a:lnTo>
                <a:lnTo>
                  <a:pt x="144" y="610"/>
                </a:lnTo>
                <a:lnTo>
                  <a:pt x="144" y="614"/>
                </a:lnTo>
                <a:lnTo>
                  <a:pt x="144" y="618"/>
                </a:lnTo>
                <a:lnTo>
                  <a:pt x="144" y="618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cs-CZ" dirty="0"/>
          </a:p>
        </p:txBody>
      </p:sp>
      <p:sp>
        <p:nvSpPr>
          <p:cNvPr id="36" name="Rectangle 35"/>
          <p:cNvSpPr/>
          <p:nvPr/>
        </p:nvSpPr>
        <p:spPr>
          <a:xfrm>
            <a:off x="1001218" y="3901695"/>
            <a:ext cx="1247736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Aft>
                <a:spcPts val="3600"/>
              </a:spcAft>
            </a:pPr>
            <a:r>
              <a:rPr lang="en-US" sz="1400" b="1" dirty="0" err="1" smtClean="0"/>
              <a:t>Konzument</a:t>
            </a:r>
            <a:endParaRPr lang="cs-CZ" sz="1400" b="1" dirty="0"/>
          </a:p>
        </p:txBody>
      </p:sp>
      <p:sp>
        <p:nvSpPr>
          <p:cNvPr id="38" name="Freeform 9"/>
          <p:cNvSpPr>
            <a:spLocks/>
          </p:cNvSpPr>
          <p:nvPr/>
        </p:nvSpPr>
        <p:spPr bwMode="auto">
          <a:xfrm>
            <a:off x="7168014" y="3342140"/>
            <a:ext cx="808620" cy="2248973"/>
          </a:xfrm>
          <a:custGeom>
            <a:avLst/>
            <a:gdLst>
              <a:gd name="T0" fmla="*/ 364 w 512"/>
              <a:gd name="T1" fmla="*/ 212 h 1424"/>
              <a:gd name="T2" fmla="*/ 392 w 512"/>
              <a:gd name="T3" fmla="*/ 170 h 1424"/>
              <a:gd name="T4" fmla="*/ 404 w 512"/>
              <a:gd name="T5" fmla="*/ 126 h 1424"/>
              <a:gd name="T6" fmla="*/ 410 w 512"/>
              <a:gd name="T7" fmla="*/ 98 h 1424"/>
              <a:gd name="T8" fmla="*/ 366 w 512"/>
              <a:gd name="T9" fmla="*/ 22 h 1424"/>
              <a:gd name="T10" fmla="*/ 296 w 512"/>
              <a:gd name="T11" fmla="*/ 0 h 1424"/>
              <a:gd name="T12" fmla="*/ 238 w 512"/>
              <a:gd name="T13" fmla="*/ 46 h 1424"/>
              <a:gd name="T14" fmla="*/ 200 w 512"/>
              <a:gd name="T15" fmla="*/ 134 h 1424"/>
              <a:gd name="T16" fmla="*/ 196 w 512"/>
              <a:gd name="T17" fmla="*/ 176 h 1424"/>
              <a:gd name="T18" fmla="*/ 204 w 512"/>
              <a:gd name="T19" fmla="*/ 196 h 1424"/>
              <a:gd name="T20" fmla="*/ 156 w 512"/>
              <a:gd name="T21" fmla="*/ 210 h 1424"/>
              <a:gd name="T22" fmla="*/ 136 w 512"/>
              <a:gd name="T23" fmla="*/ 308 h 1424"/>
              <a:gd name="T24" fmla="*/ 120 w 512"/>
              <a:gd name="T25" fmla="*/ 478 h 1424"/>
              <a:gd name="T26" fmla="*/ 106 w 512"/>
              <a:gd name="T27" fmla="*/ 560 h 1424"/>
              <a:gd name="T28" fmla="*/ 116 w 512"/>
              <a:gd name="T29" fmla="*/ 634 h 1424"/>
              <a:gd name="T30" fmla="*/ 136 w 512"/>
              <a:gd name="T31" fmla="*/ 664 h 1424"/>
              <a:gd name="T32" fmla="*/ 162 w 512"/>
              <a:gd name="T33" fmla="*/ 672 h 1424"/>
              <a:gd name="T34" fmla="*/ 128 w 512"/>
              <a:gd name="T35" fmla="*/ 812 h 1424"/>
              <a:gd name="T36" fmla="*/ 108 w 512"/>
              <a:gd name="T37" fmla="*/ 962 h 1424"/>
              <a:gd name="T38" fmla="*/ 78 w 512"/>
              <a:gd name="T39" fmla="*/ 1108 h 1424"/>
              <a:gd name="T40" fmla="*/ 64 w 512"/>
              <a:gd name="T41" fmla="*/ 1200 h 1424"/>
              <a:gd name="T42" fmla="*/ 64 w 512"/>
              <a:gd name="T43" fmla="*/ 1286 h 1424"/>
              <a:gd name="T44" fmla="*/ 42 w 512"/>
              <a:gd name="T45" fmla="*/ 1354 h 1424"/>
              <a:gd name="T46" fmla="*/ 0 w 512"/>
              <a:gd name="T47" fmla="*/ 1420 h 1424"/>
              <a:gd name="T48" fmla="*/ 68 w 512"/>
              <a:gd name="T49" fmla="*/ 1414 h 1424"/>
              <a:gd name="T50" fmla="*/ 94 w 512"/>
              <a:gd name="T51" fmla="*/ 1368 h 1424"/>
              <a:gd name="T52" fmla="*/ 116 w 512"/>
              <a:gd name="T53" fmla="*/ 1346 h 1424"/>
              <a:gd name="T54" fmla="*/ 122 w 512"/>
              <a:gd name="T55" fmla="*/ 1376 h 1424"/>
              <a:gd name="T56" fmla="*/ 128 w 512"/>
              <a:gd name="T57" fmla="*/ 1340 h 1424"/>
              <a:gd name="T58" fmla="*/ 152 w 512"/>
              <a:gd name="T59" fmla="*/ 1316 h 1424"/>
              <a:gd name="T60" fmla="*/ 166 w 512"/>
              <a:gd name="T61" fmla="*/ 1172 h 1424"/>
              <a:gd name="T62" fmla="*/ 188 w 512"/>
              <a:gd name="T63" fmla="*/ 1114 h 1424"/>
              <a:gd name="T64" fmla="*/ 234 w 512"/>
              <a:gd name="T65" fmla="*/ 874 h 1424"/>
              <a:gd name="T66" fmla="*/ 288 w 512"/>
              <a:gd name="T67" fmla="*/ 754 h 1424"/>
              <a:gd name="T68" fmla="*/ 310 w 512"/>
              <a:gd name="T69" fmla="*/ 796 h 1424"/>
              <a:gd name="T70" fmla="*/ 308 w 512"/>
              <a:gd name="T71" fmla="*/ 1130 h 1424"/>
              <a:gd name="T72" fmla="*/ 292 w 512"/>
              <a:gd name="T73" fmla="*/ 1228 h 1424"/>
              <a:gd name="T74" fmla="*/ 304 w 512"/>
              <a:gd name="T75" fmla="*/ 1298 h 1424"/>
              <a:gd name="T76" fmla="*/ 316 w 512"/>
              <a:gd name="T77" fmla="*/ 1356 h 1424"/>
              <a:gd name="T78" fmla="*/ 342 w 512"/>
              <a:gd name="T79" fmla="*/ 1396 h 1424"/>
              <a:gd name="T80" fmla="*/ 382 w 512"/>
              <a:gd name="T81" fmla="*/ 1370 h 1424"/>
              <a:gd name="T82" fmla="*/ 376 w 512"/>
              <a:gd name="T83" fmla="*/ 1294 h 1424"/>
              <a:gd name="T84" fmla="*/ 390 w 512"/>
              <a:gd name="T85" fmla="*/ 1154 h 1424"/>
              <a:gd name="T86" fmla="*/ 404 w 512"/>
              <a:gd name="T87" fmla="*/ 994 h 1424"/>
              <a:gd name="T88" fmla="*/ 426 w 512"/>
              <a:gd name="T89" fmla="*/ 816 h 1424"/>
              <a:gd name="T90" fmla="*/ 450 w 512"/>
              <a:gd name="T91" fmla="*/ 706 h 1424"/>
              <a:gd name="T92" fmla="*/ 434 w 512"/>
              <a:gd name="T93" fmla="*/ 588 h 1424"/>
              <a:gd name="T94" fmla="*/ 404 w 512"/>
              <a:gd name="T95" fmla="*/ 502 h 1424"/>
              <a:gd name="T96" fmla="*/ 420 w 512"/>
              <a:gd name="T97" fmla="*/ 432 h 1424"/>
              <a:gd name="T98" fmla="*/ 428 w 512"/>
              <a:gd name="T99" fmla="*/ 454 h 1424"/>
              <a:gd name="T100" fmla="*/ 424 w 512"/>
              <a:gd name="T101" fmla="*/ 492 h 1424"/>
              <a:gd name="T102" fmla="*/ 436 w 512"/>
              <a:gd name="T103" fmla="*/ 508 h 1424"/>
              <a:gd name="T104" fmla="*/ 438 w 512"/>
              <a:gd name="T105" fmla="*/ 550 h 1424"/>
              <a:gd name="T106" fmla="*/ 432 w 512"/>
              <a:gd name="T107" fmla="*/ 580 h 1424"/>
              <a:gd name="T108" fmla="*/ 444 w 512"/>
              <a:gd name="T109" fmla="*/ 686 h 1424"/>
              <a:gd name="T110" fmla="*/ 490 w 512"/>
              <a:gd name="T111" fmla="*/ 610 h 1424"/>
              <a:gd name="T112" fmla="*/ 512 w 512"/>
              <a:gd name="T113" fmla="*/ 512 h 1424"/>
              <a:gd name="T114" fmla="*/ 498 w 512"/>
              <a:gd name="T115" fmla="*/ 474 h 1424"/>
              <a:gd name="T116" fmla="*/ 486 w 512"/>
              <a:gd name="T117" fmla="*/ 432 h 1424"/>
              <a:gd name="T118" fmla="*/ 480 w 512"/>
              <a:gd name="T119" fmla="*/ 318 h 1424"/>
              <a:gd name="T120" fmla="*/ 464 w 512"/>
              <a:gd name="T121" fmla="*/ 246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12" h="1424">
                <a:moveTo>
                  <a:pt x="432" y="234"/>
                </a:moveTo>
                <a:lnTo>
                  <a:pt x="432" y="234"/>
                </a:lnTo>
                <a:lnTo>
                  <a:pt x="386" y="222"/>
                </a:lnTo>
                <a:lnTo>
                  <a:pt x="374" y="218"/>
                </a:lnTo>
                <a:lnTo>
                  <a:pt x="364" y="212"/>
                </a:lnTo>
                <a:lnTo>
                  <a:pt x="364" y="212"/>
                </a:lnTo>
                <a:lnTo>
                  <a:pt x="362" y="210"/>
                </a:lnTo>
                <a:lnTo>
                  <a:pt x="360" y="208"/>
                </a:lnTo>
                <a:lnTo>
                  <a:pt x="362" y="202"/>
                </a:lnTo>
                <a:lnTo>
                  <a:pt x="368" y="194"/>
                </a:lnTo>
                <a:lnTo>
                  <a:pt x="376" y="186"/>
                </a:lnTo>
                <a:lnTo>
                  <a:pt x="392" y="170"/>
                </a:lnTo>
                <a:lnTo>
                  <a:pt x="398" y="160"/>
                </a:lnTo>
                <a:lnTo>
                  <a:pt x="400" y="152"/>
                </a:lnTo>
                <a:lnTo>
                  <a:pt x="400" y="152"/>
                </a:lnTo>
                <a:lnTo>
                  <a:pt x="400" y="140"/>
                </a:lnTo>
                <a:lnTo>
                  <a:pt x="402" y="132"/>
                </a:lnTo>
                <a:lnTo>
                  <a:pt x="404" y="126"/>
                </a:lnTo>
                <a:lnTo>
                  <a:pt x="406" y="122"/>
                </a:lnTo>
                <a:lnTo>
                  <a:pt x="412" y="116"/>
                </a:lnTo>
                <a:lnTo>
                  <a:pt x="412" y="114"/>
                </a:lnTo>
                <a:lnTo>
                  <a:pt x="414" y="108"/>
                </a:lnTo>
                <a:lnTo>
                  <a:pt x="414" y="108"/>
                </a:lnTo>
                <a:lnTo>
                  <a:pt x="410" y="98"/>
                </a:lnTo>
                <a:lnTo>
                  <a:pt x="406" y="88"/>
                </a:lnTo>
                <a:lnTo>
                  <a:pt x="392" y="66"/>
                </a:lnTo>
                <a:lnTo>
                  <a:pt x="378" y="44"/>
                </a:lnTo>
                <a:lnTo>
                  <a:pt x="370" y="28"/>
                </a:lnTo>
                <a:lnTo>
                  <a:pt x="370" y="28"/>
                </a:lnTo>
                <a:lnTo>
                  <a:pt x="366" y="22"/>
                </a:lnTo>
                <a:lnTo>
                  <a:pt x="358" y="16"/>
                </a:lnTo>
                <a:lnTo>
                  <a:pt x="348" y="10"/>
                </a:lnTo>
                <a:lnTo>
                  <a:pt x="336" y="6"/>
                </a:lnTo>
                <a:lnTo>
                  <a:pt x="312" y="0"/>
                </a:lnTo>
                <a:lnTo>
                  <a:pt x="302" y="0"/>
                </a:lnTo>
                <a:lnTo>
                  <a:pt x="296" y="0"/>
                </a:lnTo>
                <a:lnTo>
                  <a:pt x="296" y="0"/>
                </a:lnTo>
                <a:lnTo>
                  <a:pt x="284" y="6"/>
                </a:lnTo>
                <a:lnTo>
                  <a:pt x="264" y="18"/>
                </a:lnTo>
                <a:lnTo>
                  <a:pt x="254" y="28"/>
                </a:lnTo>
                <a:lnTo>
                  <a:pt x="244" y="36"/>
                </a:lnTo>
                <a:lnTo>
                  <a:pt x="238" y="46"/>
                </a:lnTo>
                <a:lnTo>
                  <a:pt x="234" y="56"/>
                </a:lnTo>
                <a:lnTo>
                  <a:pt x="234" y="56"/>
                </a:lnTo>
                <a:lnTo>
                  <a:pt x="230" y="66"/>
                </a:lnTo>
                <a:lnTo>
                  <a:pt x="226" y="78"/>
                </a:lnTo>
                <a:lnTo>
                  <a:pt x="212" y="106"/>
                </a:lnTo>
                <a:lnTo>
                  <a:pt x="200" y="134"/>
                </a:lnTo>
                <a:lnTo>
                  <a:pt x="194" y="148"/>
                </a:lnTo>
                <a:lnTo>
                  <a:pt x="192" y="158"/>
                </a:lnTo>
                <a:lnTo>
                  <a:pt x="192" y="158"/>
                </a:lnTo>
                <a:lnTo>
                  <a:pt x="190" y="166"/>
                </a:lnTo>
                <a:lnTo>
                  <a:pt x="192" y="172"/>
                </a:lnTo>
                <a:lnTo>
                  <a:pt x="196" y="176"/>
                </a:lnTo>
                <a:lnTo>
                  <a:pt x="200" y="180"/>
                </a:lnTo>
                <a:lnTo>
                  <a:pt x="202" y="182"/>
                </a:lnTo>
                <a:lnTo>
                  <a:pt x="206" y="186"/>
                </a:lnTo>
                <a:lnTo>
                  <a:pt x="206" y="190"/>
                </a:lnTo>
                <a:lnTo>
                  <a:pt x="204" y="196"/>
                </a:lnTo>
                <a:lnTo>
                  <a:pt x="204" y="196"/>
                </a:lnTo>
                <a:lnTo>
                  <a:pt x="200" y="200"/>
                </a:lnTo>
                <a:lnTo>
                  <a:pt x="194" y="204"/>
                </a:lnTo>
                <a:lnTo>
                  <a:pt x="186" y="206"/>
                </a:lnTo>
                <a:lnTo>
                  <a:pt x="186" y="206"/>
                </a:lnTo>
                <a:lnTo>
                  <a:pt x="170" y="208"/>
                </a:lnTo>
                <a:lnTo>
                  <a:pt x="156" y="210"/>
                </a:lnTo>
                <a:lnTo>
                  <a:pt x="150" y="212"/>
                </a:lnTo>
                <a:lnTo>
                  <a:pt x="146" y="216"/>
                </a:lnTo>
                <a:lnTo>
                  <a:pt x="142" y="224"/>
                </a:lnTo>
                <a:lnTo>
                  <a:pt x="142" y="234"/>
                </a:lnTo>
                <a:lnTo>
                  <a:pt x="142" y="234"/>
                </a:lnTo>
                <a:lnTo>
                  <a:pt x="136" y="308"/>
                </a:lnTo>
                <a:lnTo>
                  <a:pt x="130" y="384"/>
                </a:lnTo>
                <a:lnTo>
                  <a:pt x="130" y="384"/>
                </a:lnTo>
                <a:lnTo>
                  <a:pt x="130" y="416"/>
                </a:lnTo>
                <a:lnTo>
                  <a:pt x="128" y="442"/>
                </a:lnTo>
                <a:lnTo>
                  <a:pt x="124" y="462"/>
                </a:lnTo>
                <a:lnTo>
                  <a:pt x="120" y="478"/>
                </a:lnTo>
                <a:lnTo>
                  <a:pt x="112" y="506"/>
                </a:lnTo>
                <a:lnTo>
                  <a:pt x="108" y="518"/>
                </a:lnTo>
                <a:lnTo>
                  <a:pt x="106" y="534"/>
                </a:lnTo>
                <a:lnTo>
                  <a:pt x="106" y="534"/>
                </a:lnTo>
                <a:lnTo>
                  <a:pt x="104" y="546"/>
                </a:lnTo>
                <a:lnTo>
                  <a:pt x="106" y="560"/>
                </a:lnTo>
                <a:lnTo>
                  <a:pt x="106" y="578"/>
                </a:lnTo>
                <a:lnTo>
                  <a:pt x="106" y="598"/>
                </a:lnTo>
                <a:lnTo>
                  <a:pt x="106" y="598"/>
                </a:lnTo>
                <a:lnTo>
                  <a:pt x="108" y="610"/>
                </a:lnTo>
                <a:lnTo>
                  <a:pt x="112" y="622"/>
                </a:lnTo>
                <a:lnTo>
                  <a:pt x="116" y="634"/>
                </a:lnTo>
                <a:lnTo>
                  <a:pt x="118" y="646"/>
                </a:lnTo>
                <a:lnTo>
                  <a:pt x="118" y="646"/>
                </a:lnTo>
                <a:lnTo>
                  <a:pt x="120" y="654"/>
                </a:lnTo>
                <a:lnTo>
                  <a:pt x="124" y="660"/>
                </a:lnTo>
                <a:lnTo>
                  <a:pt x="130" y="662"/>
                </a:lnTo>
                <a:lnTo>
                  <a:pt x="136" y="664"/>
                </a:lnTo>
                <a:lnTo>
                  <a:pt x="150" y="664"/>
                </a:lnTo>
                <a:lnTo>
                  <a:pt x="154" y="664"/>
                </a:lnTo>
                <a:lnTo>
                  <a:pt x="158" y="664"/>
                </a:lnTo>
                <a:lnTo>
                  <a:pt x="158" y="664"/>
                </a:lnTo>
                <a:lnTo>
                  <a:pt x="160" y="668"/>
                </a:lnTo>
                <a:lnTo>
                  <a:pt x="162" y="672"/>
                </a:lnTo>
                <a:lnTo>
                  <a:pt x="162" y="686"/>
                </a:lnTo>
                <a:lnTo>
                  <a:pt x="158" y="704"/>
                </a:lnTo>
                <a:lnTo>
                  <a:pt x="152" y="726"/>
                </a:lnTo>
                <a:lnTo>
                  <a:pt x="152" y="726"/>
                </a:lnTo>
                <a:lnTo>
                  <a:pt x="142" y="760"/>
                </a:lnTo>
                <a:lnTo>
                  <a:pt x="128" y="812"/>
                </a:lnTo>
                <a:lnTo>
                  <a:pt x="120" y="842"/>
                </a:lnTo>
                <a:lnTo>
                  <a:pt x="114" y="876"/>
                </a:lnTo>
                <a:lnTo>
                  <a:pt x="110" y="912"/>
                </a:lnTo>
                <a:lnTo>
                  <a:pt x="110" y="948"/>
                </a:lnTo>
                <a:lnTo>
                  <a:pt x="110" y="948"/>
                </a:lnTo>
                <a:lnTo>
                  <a:pt x="108" y="962"/>
                </a:lnTo>
                <a:lnTo>
                  <a:pt x="104" y="980"/>
                </a:lnTo>
                <a:lnTo>
                  <a:pt x="94" y="1028"/>
                </a:lnTo>
                <a:lnTo>
                  <a:pt x="82" y="1076"/>
                </a:lnTo>
                <a:lnTo>
                  <a:pt x="78" y="1094"/>
                </a:lnTo>
                <a:lnTo>
                  <a:pt x="78" y="1108"/>
                </a:lnTo>
                <a:lnTo>
                  <a:pt x="78" y="1108"/>
                </a:lnTo>
                <a:lnTo>
                  <a:pt x="78" y="1132"/>
                </a:lnTo>
                <a:lnTo>
                  <a:pt x="78" y="1150"/>
                </a:lnTo>
                <a:lnTo>
                  <a:pt x="76" y="1164"/>
                </a:lnTo>
                <a:lnTo>
                  <a:pt x="72" y="1174"/>
                </a:lnTo>
                <a:lnTo>
                  <a:pt x="66" y="1192"/>
                </a:lnTo>
                <a:lnTo>
                  <a:pt x="64" y="1200"/>
                </a:lnTo>
                <a:lnTo>
                  <a:pt x="62" y="1214"/>
                </a:lnTo>
                <a:lnTo>
                  <a:pt x="62" y="1214"/>
                </a:lnTo>
                <a:lnTo>
                  <a:pt x="66" y="1238"/>
                </a:lnTo>
                <a:lnTo>
                  <a:pt x="66" y="1256"/>
                </a:lnTo>
                <a:lnTo>
                  <a:pt x="66" y="1272"/>
                </a:lnTo>
                <a:lnTo>
                  <a:pt x="64" y="1286"/>
                </a:lnTo>
                <a:lnTo>
                  <a:pt x="58" y="1304"/>
                </a:lnTo>
                <a:lnTo>
                  <a:pt x="52" y="1320"/>
                </a:lnTo>
                <a:lnTo>
                  <a:pt x="52" y="1320"/>
                </a:lnTo>
                <a:lnTo>
                  <a:pt x="50" y="1334"/>
                </a:lnTo>
                <a:lnTo>
                  <a:pt x="48" y="1344"/>
                </a:lnTo>
                <a:lnTo>
                  <a:pt x="42" y="1354"/>
                </a:lnTo>
                <a:lnTo>
                  <a:pt x="42" y="1354"/>
                </a:lnTo>
                <a:lnTo>
                  <a:pt x="24" y="1386"/>
                </a:lnTo>
                <a:lnTo>
                  <a:pt x="8" y="1406"/>
                </a:lnTo>
                <a:lnTo>
                  <a:pt x="8" y="1406"/>
                </a:lnTo>
                <a:lnTo>
                  <a:pt x="2" y="1416"/>
                </a:lnTo>
                <a:lnTo>
                  <a:pt x="0" y="1420"/>
                </a:lnTo>
                <a:lnTo>
                  <a:pt x="2" y="1424"/>
                </a:lnTo>
                <a:lnTo>
                  <a:pt x="8" y="1424"/>
                </a:lnTo>
                <a:lnTo>
                  <a:pt x="18" y="1424"/>
                </a:lnTo>
                <a:lnTo>
                  <a:pt x="58" y="1418"/>
                </a:lnTo>
                <a:lnTo>
                  <a:pt x="58" y="1418"/>
                </a:lnTo>
                <a:lnTo>
                  <a:pt x="68" y="1414"/>
                </a:lnTo>
                <a:lnTo>
                  <a:pt x="76" y="1408"/>
                </a:lnTo>
                <a:lnTo>
                  <a:pt x="80" y="1402"/>
                </a:lnTo>
                <a:lnTo>
                  <a:pt x="84" y="1396"/>
                </a:lnTo>
                <a:lnTo>
                  <a:pt x="86" y="1384"/>
                </a:lnTo>
                <a:lnTo>
                  <a:pt x="90" y="1376"/>
                </a:lnTo>
                <a:lnTo>
                  <a:pt x="94" y="1368"/>
                </a:lnTo>
                <a:lnTo>
                  <a:pt x="94" y="1368"/>
                </a:lnTo>
                <a:lnTo>
                  <a:pt x="102" y="1354"/>
                </a:lnTo>
                <a:lnTo>
                  <a:pt x="108" y="1346"/>
                </a:lnTo>
                <a:lnTo>
                  <a:pt x="114" y="1342"/>
                </a:lnTo>
                <a:lnTo>
                  <a:pt x="116" y="1342"/>
                </a:lnTo>
                <a:lnTo>
                  <a:pt x="116" y="1346"/>
                </a:lnTo>
                <a:lnTo>
                  <a:pt x="118" y="1354"/>
                </a:lnTo>
                <a:lnTo>
                  <a:pt x="116" y="1368"/>
                </a:lnTo>
                <a:lnTo>
                  <a:pt x="116" y="1368"/>
                </a:lnTo>
                <a:lnTo>
                  <a:pt x="118" y="1376"/>
                </a:lnTo>
                <a:lnTo>
                  <a:pt x="118" y="1376"/>
                </a:lnTo>
                <a:lnTo>
                  <a:pt x="122" y="1376"/>
                </a:lnTo>
                <a:lnTo>
                  <a:pt x="122" y="1376"/>
                </a:lnTo>
                <a:lnTo>
                  <a:pt x="124" y="1374"/>
                </a:lnTo>
                <a:lnTo>
                  <a:pt x="126" y="1370"/>
                </a:lnTo>
                <a:lnTo>
                  <a:pt x="128" y="1352"/>
                </a:lnTo>
                <a:lnTo>
                  <a:pt x="128" y="1352"/>
                </a:lnTo>
                <a:lnTo>
                  <a:pt x="128" y="1340"/>
                </a:lnTo>
                <a:lnTo>
                  <a:pt x="130" y="1334"/>
                </a:lnTo>
                <a:lnTo>
                  <a:pt x="134" y="1332"/>
                </a:lnTo>
                <a:lnTo>
                  <a:pt x="134" y="1332"/>
                </a:lnTo>
                <a:lnTo>
                  <a:pt x="144" y="1330"/>
                </a:lnTo>
                <a:lnTo>
                  <a:pt x="150" y="1324"/>
                </a:lnTo>
                <a:lnTo>
                  <a:pt x="152" y="1316"/>
                </a:lnTo>
                <a:lnTo>
                  <a:pt x="154" y="1304"/>
                </a:lnTo>
                <a:lnTo>
                  <a:pt x="154" y="1304"/>
                </a:lnTo>
                <a:lnTo>
                  <a:pt x="158" y="1278"/>
                </a:lnTo>
                <a:lnTo>
                  <a:pt x="160" y="1250"/>
                </a:lnTo>
                <a:lnTo>
                  <a:pt x="162" y="1196"/>
                </a:lnTo>
                <a:lnTo>
                  <a:pt x="166" y="1172"/>
                </a:lnTo>
                <a:lnTo>
                  <a:pt x="170" y="1150"/>
                </a:lnTo>
                <a:lnTo>
                  <a:pt x="176" y="1134"/>
                </a:lnTo>
                <a:lnTo>
                  <a:pt x="180" y="1128"/>
                </a:lnTo>
                <a:lnTo>
                  <a:pt x="184" y="1122"/>
                </a:lnTo>
                <a:lnTo>
                  <a:pt x="184" y="1122"/>
                </a:lnTo>
                <a:lnTo>
                  <a:pt x="188" y="1114"/>
                </a:lnTo>
                <a:lnTo>
                  <a:pt x="192" y="1092"/>
                </a:lnTo>
                <a:lnTo>
                  <a:pt x="204" y="1024"/>
                </a:lnTo>
                <a:lnTo>
                  <a:pt x="218" y="952"/>
                </a:lnTo>
                <a:lnTo>
                  <a:pt x="228" y="902"/>
                </a:lnTo>
                <a:lnTo>
                  <a:pt x="228" y="902"/>
                </a:lnTo>
                <a:lnTo>
                  <a:pt x="234" y="874"/>
                </a:lnTo>
                <a:lnTo>
                  <a:pt x="242" y="850"/>
                </a:lnTo>
                <a:lnTo>
                  <a:pt x="252" y="826"/>
                </a:lnTo>
                <a:lnTo>
                  <a:pt x="260" y="804"/>
                </a:lnTo>
                <a:lnTo>
                  <a:pt x="270" y="784"/>
                </a:lnTo>
                <a:lnTo>
                  <a:pt x="280" y="768"/>
                </a:lnTo>
                <a:lnTo>
                  <a:pt x="288" y="754"/>
                </a:lnTo>
                <a:lnTo>
                  <a:pt x="296" y="746"/>
                </a:lnTo>
                <a:lnTo>
                  <a:pt x="296" y="746"/>
                </a:lnTo>
                <a:lnTo>
                  <a:pt x="300" y="744"/>
                </a:lnTo>
                <a:lnTo>
                  <a:pt x="302" y="748"/>
                </a:lnTo>
                <a:lnTo>
                  <a:pt x="306" y="766"/>
                </a:lnTo>
                <a:lnTo>
                  <a:pt x="310" y="796"/>
                </a:lnTo>
                <a:lnTo>
                  <a:pt x="314" y="834"/>
                </a:lnTo>
                <a:lnTo>
                  <a:pt x="316" y="920"/>
                </a:lnTo>
                <a:lnTo>
                  <a:pt x="314" y="998"/>
                </a:lnTo>
                <a:lnTo>
                  <a:pt x="314" y="998"/>
                </a:lnTo>
                <a:lnTo>
                  <a:pt x="312" y="1078"/>
                </a:lnTo>
                <a:lnTo>
                  <a:pt x="308" y="1130"/>
                </a:lnTo>
                <a:lnTo>
                  <a:pt x="304" y="1172"/>
                </a:lnTo>
                <a:lnTo>
                  <a:pt x="304" y="1172"/>
                </a:lnTo>
                <a:lnTo>
                  <a:pt x="302" y="1186"/>
                </a:lnTo>
                <a:lnTo>
                  <a:pt x="302" y="1198"/>
                </a:lnTo>
                <a:lnTo>
                  <a:pt x="296" y="1216"/>
                </a:lnTo>
                <a:lnTo>
                  <a:pt x="292" y="1228"/>
                </a:lnTo>
                <a:lnTo>
                  <a:pt x="292" y="1232"/>
                </a:lnTo>
                <a:lnTo>
                  <a:pt x="292" y="1236"/>
                </a:lnTo>
                <a:lnTo>
                  <a:pt x="292" y="1236"/>
                </a:lnTo>
                <a:lnTo>
                  <a:pt x="300" y="1270"/>
                </a:lnTo>
                <a:lnTo>
                  <a:pt x="304" y="1298"/>
                </a:lnTo>
                <a:lnTo>
                  <a:pt x="304" y="1298"/>
                </a:lnTo>
                <a:lnTo>
                  <a:pt x="306" y="1306"/>
                </a:lnTo>
                <a:lnTo>
                  <a:pt x="308" y="1314"/>
                </a:lnTo>
                <a:lnTo>
                  <a:pt x="314" y="1332"/>
                </a:lnTo>
                <a:lnTo>
                  <a:pt x="314" y="1332"/>
                </a:lnTo>
                <a:lnTo>
                  <a:pt x="316" y="1344"/>
                </a:lnTo>
                <a:lnTo>
                  <a:pt x="316" y="1356"/>
                </a:lnTo>
                <a:lnTo>
                  <a:pt x="316" y="1356"/>
                </a:lnTo>
                <a:lnTo>
                  <a:pt x="316" y="1364"/>
                </a:lnTo>
                <a:lnTo>
                  <a:pt x="320" y="1372"/>
                </a:lnTo>
                <a:lnTo>
                  <a:pt x="324" y="1378"/>
                </a:lnTo>
                <a:lnTo>
                  <a:pt x="330" y="1386"/>
                </a:lnTo>
                <a:lnTo>
                  <a:pt x="342" y="1396"/>
                </a:lnTo>
                <a:lnTo>
                  <a:pt x="352" y="1400"/>
                </a:lnTo>
                <a:lnTo>
                  <a:pt x="352" y="1400"/>
                </a:lnTo>
                <a:lnTo>
                  <a:pt x="364" y="1392"/>
                </a:lnTo>
                <a:lnTo>
                  <a:pt x="372" y="1384"/>
                </a:lnTo>
                <a:lnTo>
                  <a:pt x="380" y="1376"/>
                </a:lnTo>
                <a:lnTo>
                  <a:pt x="382" y="1370"/>
                </a:lnTo>
                <a:lnTo>
                  <a:pt x="382" y="1370"/>
                </a:lnTo>
                <a:lnTo>
                  <a:pt x="382" y="1360"/>
                </a:lnTo>
                <a:lnTo>
                  <a:pt x="380" y="1352"/>
                </a:lnTo>
                <a:lnTo>
                  <a:pt x="376" y="1334"/>
                </a:lnTo>
                <a:lnTo>
                  <a:pt x="376" y="1294"/>
                </a:lnTo>
                <a:lnTo>
                  <a:pt x="376" y="1294"/>
                </a:lnTo>
                <a:lnTo>
                  <a:pt x="378" y="1272"/>
                </a:lnTo>
                <a:lnTo>
                  <a:pt x="382" y="1242"/>
                </a:lnTo>
                <a:lnTo>
                  <a:pt x="386" y="1208"/>
                </a:lnTo>
                <a:lnTo>
                  <a:pt x="388" y="1186"/>
                </a:lnTo>
                <a:lnTo>
                  <a:pt x="388" y="1186"/>
                </a:lnTo>
                <a:lnTo>
                  <a:pt x="390" y="1154"/>
                </a:lnTo>
                <a:lnTo>
                  <a:pt x="394" y="1118"/>
                </a:lnTo>
                <a:lnTo>
                  <a:pt x="396" y="1078"/>
                </a:lnTo>
                <a:lnTo>
                  <a:pt x="398" y="1042"/>
                </a:lnTo>
                <a:lnTo>
                  <a:pt x="398" y="1042"/>
                </a:lnTo>
                <a:lnTo>
                  <a:pt x="400" y="1022"/>
                </a:lnTo>
                <a:lnTo>
                  <a:pt x="404" y="994"/>
                </a:lnTo>
                <a:lnTo>
                  <a:pt x="410" y="966"/>
                </a:lnTo>
                <a:lnTo>
                  <a:pt x="412" y="944"/>
                </a:lnTo>
                <a:lnTo>
                  <a:pt x="412" y="944"/>
                </a:lnTo>
                <a:lnTo>
                  <a:pt x="414" y="890"/>
                </a:lnTo>
                <a:lnTo>
                  <a:pt x="420" y="848"/>
                </a:lnTo>
                <a:lnTo>
                  <a:pt x="426" y="816"/>
                </a:lnTo>
                <a:lnTo>
                  <a:pt x="432" y="792"/>
                </a:lnTo>
                <a:lnTo>
                  <a:pt x="444" y="754"/>
                </a:lnTo>
                <a:lnTo>
                  <a:pt x="448" y="738"/>
                </a:lnTo>
                <a:lnTo>
                  <a:pt x="450" y="716"/>
                </a:lnTo>
                <a:lnTo>
                  <a:pt x="450" y="716"/>
                </a:lnTo>
                <a:lnTo>
                  <a:pt x="450" y="706"/>
                </a:lnTo>
                <a:lnTo>
                  <a:pt x="448" y="698"/>
                </a:lnTo>
                <a:lnTo>
                  <a:pt x="448" y="690"/>
                </a:lnTo>
                <a:lnTo>
                  <a:pt x="448" y="684"/>
                </a:lnTo>
                <a:lnTo>
                  <a:pt x="448" y="684"/>
                </a:lnTo>
                <a:lnTo>
                  <a:pt x="440" y="634"/>
                </a:lnTo>
                <a:lnTo>
                  <a:pt x="434" y="588"/>
                </a:lnTo>
                <a:lnTo>
                  <a:pt x="426" y="540"/>
                </a:lnTo>
                <a:lnTo>
                  <a:pt x="426" y="540"/>
                </a:lnTo>
                <a:lnTo>
                  <a:pt x="422" y="532"/>
                </a:lnTo>
                <a:lnTo>
                  <a:pt x="418" y="524"/>
                </a:lnTo>
                <a:lnTo>
                  <a:pt x="410" y="508"/>
                </a:lnTo>
                <a:lnTo>
                  <a:pt x="404" y="502"/>
                </a:lnTo>
                <a:lnTo>
                  <a:pt x="402" y="494"/>
                </a:lnTo>
                <a:lnTo>
                  <a:pt x="400" y="486"/>
                </a:lnTo>
                <a:lnTo>
                  <a:pt x="402" y="478"/>
                </a:lnTo>
                <a:lnTo>
                  <a:pt x="402" y="478"/>
                </a:lnTo>
                <a:lnTo>
                  <a:pt x="410" y="456"/>
                </a:lnTo>
                <a:lnTo>
                  <a:pt x="420" y="432"/>
                </a:lnTo>
                <a:lnTo>
                  <a:pt x="420" y="432"/>
                </a:lnTo>
                <a:lnTo>
                  <a:pt x="422" y="432"/>
                </a:lnTo>
                <a:lnTo>
                  <a:pt x="422" y="432"/>
                </a:lnTo>
                <a:lnTo>
                  <a:pt x="424" y="438"/>
                </a:lnTo>
                <a:lnTo>
                  <a:pt x="426" y="446"/>
                </a:lnTo>
                <a:lnTo>
                  <a:pt x="428" y="454"/>
                </a:lnTo>
                <a:lnTo>
                  <a:pt x="428" y="454"/>
                </a:lnTo>
                <a:lnTo>
                  <a:pt x="430" y="462"/>
                </a:lnTo>
                <a:lnTo>
                  <a:pt x="430" y="466"/>
                </a:lnTo>
                <a:lnTo>
                  <a:pt x="428" y="476"/>
                </a:lnTo>
                <a:lnTo>
                  <a:pt x="424" y="486"/>
                </a:lnTo>
                <a:lnTo>
                  <a:pt x="424" y="492"/>
                </a:lnTo>
                <a:lnTo>
                  <a:pt x="426" y="498"/>
                </a:lnTo>
                <a:lnTo>
                  <a:pt x="426" y="498"/>
                </a:lnTo>
                <a:lnTo>
                  <a:pt x="428" y="502"/>
                </a:lnTo>
                <a:lnTo>
                  <a:pt x="430" y="504"/>
                </a:lnTo>
                <a:lnTo>
                  <a:pt x="434" y="506"/>
                </a:lnTo>
                <a:lnTo>
                  <a:pt x="436" y="508"/>
                </a:lnTo>
                <a:lnTo>
                  <a:pt x="436" y="508"/>
                </a:lnTo>
                <a:lnTo>
                  <a:pt x="436" y="518"/>
                </a:lnTo>
                <a:lnTo>
                  <a:pt x="436" y="530"/>
                </a:lnTo>
                <a:lnTo>
                  <a:pt x="436" y="540"/>
                </a:lnTo>
                <a:lnTo>
                  <a:pt x="438" y="550"/>
                </a:lnTo>
                <a:lnTo>
                  <a:pt x="438" y="550"/>
                </a:lnTo>
                <a:lnTo>
                  <a:pt x="444" y="556"/>
                </a:lnTo>
                <a:lnTo>
                  <a:pt x="444" y="560"/>
                </a:lnTo>
                <a:lnTo>
                  <a:pt x="444" y="566"/>
                </a:lnTo>
                <a:lnTo>
                  <a:pt x="440" y="570"/>
                </a:lnTo>
                <a:lnTo>
                  <a:pt x="434" y="576"/>
                </a:lnTo>
                <a:lnTo>
                  <a:pt x="432" y="580"/>
                </a:lnTo>
                <a:lnTo>
                  <a:pt x="432" y="582"/>
                </a:lnTo>
                <a:lnTo>
                  <a:pt x="432" y="582"/>
                </a:lnTo>
                <a:lnTo>
                  <a:pt x="436" y="644"/>
                </a:lnTo>
                <a:lnTo>
                  <a:pt x="440" y="674"/>
                </a:lnTo>
                <a:lnTo>
                  <a:pt x="442" y="684"/>
                </a:lnTo>
                <a:lnTo>
                  <a:pt x="444" y="686"/>
                </a:lnTo>
                <a:lnTo>
                  <a:pt x="446" y="688"/>
                </a:lnTo>
                <a:lnTo>
                  <a:pt x="446" y="688"/>
                </a:lnTo>
                <a:lnTo>
                  <a:pt x="470" y="654"/>
                </a:lnTo>
                <a:lnTo>
                  <a:pt x="488" y="622"/>
                </a:lnTo>
                <a:lnTo>
                  <a:pt x="488" y="622"/>
                </a:lnTo>
                <a:lnTo>
                  <a:pt x="490" y="610"/>
                </a:lnTo>
                <a:lnTo>
                  <a:pt x="494" y="598"/>
                </a:lnTo>
                <a:lnTo>
                  <a:pt x="498" y="586"/>
                </a:lnTo>
                <a:lnTo>
                  <a:pt x="498" y="570"/>
                </a:lnTo>
                <a:lnTo>
                  <a:pt x="498" y="570"/>
                </a:lnTo>
                <a:lnTo>
                  <a:pt x="508" y="532"/>
                </a:lnTo>
                <a:lnTo>
                  <a:pt x="512" y="512"/>
                </a:lnTo>
                <a:lnTo>
                  <a:pt x="512" y="494"/>
                </a:lnTo>
                <a:lnTo>
                  <a:pt x="512" y="494"/>
                </a:lnTo>
                <a:lnTo>
                  <a:pt x="512" y="490"/>
                </a:lnTo>
                <a:lnTo>
                  <a:pt x="510" y="486"/>
                </a:lnTo>
                <a:lnTo>
                  <a:pt x="504" y="480"/>
                </a:lnTo>
                <a:lnTo>
                  <a:pt x="498" y="474"/>
                </a:lnTo>
                <a:lnTo>
                  <a:pt x="494" y="470"/>
                </a:lnTo>
                <a:lnTo>
                  <a:pt x="494" y="466"/>
                </a:lnTo>
                <a:lnTo>
                  <a:pt x="494" y="466"/>
                </a:lnTo>
                <a:lnTo>
                  <a:pt x="492" y="454"/>
                </a:lnTo>
                <a:lnTo>
                  <a:pt x="490" y="442"/>
                </a:lnTo>
                <a:lnTo>
                  <a:pt x="486" y="432"/>
                </a:lnTo>
                <a:lnTo>
                  <a:pt x="486" y="424"/>
                </a:lnTo>
                <a:lnTo>
                  <a:pt x="486" y="424"/>
                </a:lnTo>
                <a:lnTo>
                  <a:pt x="486" y="408"/>
                </a:lnTo>
                <a:lnTo>
                  <a:pt x="486" y="392"/>
                </a:lnTo>
                <a:lnTo>
                  <a:pt x="484" y="358"/>
                </a:lnTo>
                <a:lnTo>
                  <a:pt x="480" y="318"/>
                </a:lnTo>
                <a:lnTo>
                  <a:pt x="480" y="274"/>
                </a:lnTo>
                <a:lnTo>
                  <a:pt x="480" y="274"/>
                </a:lnTo>
                <a:lnTo>
                  <a:pt x="478" y="264"/>
                </a:lnTo>
                <a:lnTo>
                  <a:pt x="474" y="256"/>
                </a:lnTo>
                <a:lnTo>
                  <a:pt x="470" y="250"/>
                </a:lnTo>
                <a:lnTo>
                  <a:pt x="464" y="246"/>
                </a:lnTo>
                <a:lnTo>
                  <a:pt x="448" y="240"/>
                </a:lnTo>
                <a:lnTo>
                  <a:pt x="432" y="234"/>
                </a:lnTo>
                <a:lnTo>
                  <a:pt x="432" y="234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cs-CZ" dirty="0"/>
          </a:p>
        </p:txBody>
      </p:sp>
      <p:sp>
        <p:nvSpPr>
          <p:cNvPr id="37" name="Rectangle 36"/>
          <p:cNvSpPr/>
          <p:nvPr/>
        </p:nvSpPr>
        <p:spPr>
          <a:xfrm>
            <a:off x="6544146" y="3844337"/>
            <a:ext cx="1247736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Aft>
                <a:spcPts val="3600"/>
              </a:spcAft>
            </a:pPr>
            <a:r>
              <a:rPr lang="en-US" sz="1400" b="1" dirty="0" err="1" smtClean="0"/>
              <a:t>Samopěstitel</a:t>
            </a:r>
            <a:endParaRPr lang="cs-CZ" sz="1400" b="1" dirty="0"/>
          </a:p>
        </p:txBody>
      </p:sp>
      <p:sp>
        <p:nvSpPr>
          <p:cNvPr id="26" name="Rectangle 25"/>
          <p:cNvSpPr/>
          <p:nvPr/>
        </p:nvSpPr>
        <p:spPr>
          <a:xfrm>
            <a:off x="3834859" y="1515576"/>
            <a:ext cx="1461154" cy="28891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400" dirty="0">
                <a:solidFill>
                  <a:schemeClr val="tx1"/>
                </a:solidFill>
              </a:rPr>
              <a:t>Po reformě</a:t>
            </a:r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45303" y="1368376"/>
            <a:ext cx="397966" cy="397966"/>
          </a:xfrm>
          <a:prstGeom prst="rect">
            <a:avLst/>
          </a:prstGeom>
          <a:ln w="25400">
            <a:noFill/>
          </a:ln>
        </p:spPr>
      </p:pic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1" y="6295782"/>
            <a:ext cx="2057400" cy="365125"/>
          </a:xfrm>
        </p:spPr>
        <p:txBody>
          <a:bodyPr/>
          <a:lstStyle/>
          <a:p>
            <a:fld id="{79A700BF-2326-DB4F-8F72-13BDA6DF694D}" type="slidenum">
              <a:rPr lang="cs-CZ" smtClean="0"/>
              <a:pPr/>
              <a:t>6</a:t>
            </a:fld>
            <a:endParaRPr lang="cs-CZ" dirty="0"/>
          </a:p>
        </p:txBody>
      </p:sp>
      <p:sp>
        <p:nvSpPr>
          <p:cNvPr id="18" name="TextBox 17"/>
          <p:cNvSpPr txBox="1"/>
          <p:nvPr/>
        </p:nvSpPr>
        <p:spPr>
          <a:xfrm>
            <a:off x="3933419" y="2115850"/>
            <a:ext cx="1246599" cy="1246599"/>
          </a:xfrm>
          <a:prstGeom prst="ellipse">
            <a:avLst/>
          </a:prstGeom>
          <a:solidFill>
            <a:schemeClr val="bg2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4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ěstírna</a:t>
            </a:r>
            <a:r>
              <a:rPr lang="en-US" sz="14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4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endParaRPr lang="cs-CZ" sz="1400" dirty="0" smtClean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3728427" y="4442763"/>
            <a:ext cx="1674017" cy="1674017"/>
          </a:xfrm>
          <a:prstGeom prst="ellipse">
            <a:avLst/>
          </a:prstGeom>
          <a:solidFill>
            <a:schemeClr val="bg2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4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Maloobchodní</a:t>
            </a:r>
            <a:r>
              <a:rPr lang="en-US" sz="14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4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rodejna</a:t>
            </a:r>
            <a:endParaRPr lang="cs-CZ" sz="1400" dirty="0" smtClean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2177267" y="3073148"/>
            <a:ext cx="1455628" cy="1365273"/>
          </a:xfrm>
          <a:prstGeom prst="ellipse">
            <a:avLst/>
          </a:prstGeom>
          <a:solidFill>
            <a:schemeClr val="bg2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4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odnik</a:t>
            </a:r>
            <a:r>
              <a:rPr lang="en-US" sz="14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4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a</a:t>
            </a:r>
            <a:r>
              <a:rPr lang="en-US" sz="14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4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výrobu</a:t>
            </a:r>
            <a:r>
              <a:rPr lang="en-US" sz="14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4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ných</a:t>
            </a:r>
            <a:r>
              <a:rPr lang="en-US" sz="14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4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roduktů</a:t>
            </a:r>
            <a:endParaRPr lang="cs-CZ" sz="1400" dirty="0" smtClean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cxnSp>
        <p:nvCxnSpPr>
          <p:cNvPr id="51" name="Straight Arrow Connector 50"/>
          <p:cNvCxnSpPr>
            <a:stCxn id="18" idx="4"/>
            <a:endCxn id="23" idx="0"/>
          </p:cNvCxnSpPr>
          <p:nvPr/>
        </p:nvCxnSpPr>
        <p:spPr>
          <a:xfrm rot="16200000" flipH="1">
            <a:off x="4020920" y="3898247"/>
            <a:ext cx="1080314" cy="8717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7" name="Straight Arrow Connector 56"/>
          <p:cNvCxnSpPr>
            <a:stCxn id="23" idx="2"/>
            <a:endCxn id="43" idx="6"/>
          </p:cNvCxnSpPr>
          <p:nvPr/>
        </p:nvCxnSpPr>
        <p:spPr>
          <a:xfrm rot="10800000" flipV="1">
            <a:off x="2583217" y="5279771"/>
            <a:ext cx="1145210" cy="420005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8" name="Straight Arrow Connector 57"/>
          <p:cNvCxnSpPr>
            <a:stCxn id="24" idx="5"/>
            <a:endCxn id="23" idx="1"/>
          </p:cNvCxnSpPr>
          <p:nvPr/>
        </p:nvCxnSpPr>
        <p:spPr>
          <a:xfrm rot="16200000" flipH="1">
            <a:off x="3471935" y="4186270"/>
            <a:ext cx="449435" cy="55385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9" name="Straight Arrow Connector 58"/>
          <p:cNvCxnSpPr>
            <a:stCxn id="18" idx="3"/>
            <a:endCxn id="24" idx="6"/>
          </p:cNvCxnSpPr>
          <p:nvPr/>
        </p:nvCxnSpPr>
        <p:spPr>
          <a:xfrm rot="5400000">
            <a:off x="3586489" y="3226295"/>
            <a:ext cx="575896" cy="48308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0" name="TextBox 69"/>
          <p:cNvSpPr txBox="1"/>
          <p:nvPr/>
        </p:nvSpPr>
        <p:spPr>
          <a:xfrm>
            <a:off x="1668496" y="1783101"/>
            <a:ext cx="1420706" cy="1018194"/>
          </a:xfrm>
          <a:prstGeom prst="ellipse">
            <a:avLst/>
          </a:prstGeom>
          <a:solidFill>
            <a:schemeClr val="bg2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2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Certifikovaná</a:t>
            </a:r>
            <a:r>
              <a:rPr lang="en-US" sz="12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analytická</a:t>
            </a:r>
            <a:r>
              <a:rPr lang="en-US" sz="12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200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aboratoř</a:t>
            </a:r>
            <a:endParaRPr lang="cs-CZ" sz="1200" dirty="0" smtClean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cxnSp>
        <p:nvCxnSpPr>
          <p:cNvPr id="72" name="Straight Arrow Connector 71"/>
          <p:cNvCxnSpPr>
            <a:stCxn id="70" idx="4"/>
            <a:endCxn id="24" idx="1"/>
          </p:cNvCxnSpPr>
          <p:nvPr/>
        </p:nvCxnSpPr>
        <p:spPr>
          <a:xfrm rot="16200000" flipH="1">
            <a:off x="2148748" y="3031396"/>
            <a:ext cx="471792" cy="1159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6" name="Straight Arrow Connector 85"/>
          <p:cNvCxnSpPr>
            <a:stCxn id="70" idx="6"/>
            <a:endCxn id="18" idx="1"/>
          </p:cNvCxnSpPr>
          <p:nvPr/>
        </p:nvCxnSpPr>
        <p:spPr>
          <a:xfrm>
            <a:off x="3089202" y="2292198"/>
            <a:ext cx="1026777" cy="6212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="" xmlns:p14="http://schemas.microsoft.com/office/powerpoint/2010/main" val="20586910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1" y="323268"/>
            <a:ext cx="8310954" cy="934884"/>
          </a:xfrm>
        </p:spPr>
        <p:txBody>
          <a:bodyPr/>
          <a:lstStyle/>
          <a:p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egalizace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eznamená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zvýšen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riminality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ve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polečnosti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–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čísla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ukazuj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píše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opačný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trend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28651" y="6320496"/>
            <a:ext cx="4567817" cy="365125"/>
          </a:xfrm>
        </p:spPr>
        <p:txBody>
          <a:bodyPr/>
          <a:lstStyle/>
          <a:p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egáln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a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egulované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7</a:t>
            </a:fld>
            <a:endParaRPr lang="cs-CZ" dirty="0"/>
          </a:p>
        </p:txBody>
      </p:sp>
      <p:sp>
        <p:nvSpPr>
          <p:cNvPr id="16" name="Rectangle 15"/>
          <p:cNvSpPr/>
          <p:nvPr/>
        </p:nvSpPr>
        <p:spPr>
          <a:xfrm>
            <a:off x="1371588" y="5631021"/>
            <a:ext cx="6384495" cy="5078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Aft>
                <a:spcPts val="3600"/>
              </a:spcAft>
            </a:pPr>
            <a:r>
              <a:rPr lang="en-US" sz="1100" i="1" dirty="0" err="1" smtClean="0"/>
              <a:t>Obr</a:t>
            </a:r>
            <a:r>
              <a:rPr lang="en-US" sz="1100" i="1" dirty="0" smtClean="0"/>
              <a:t>. 1: </a:t>
            </a:r>
            <a:r>
              <a:rPr lang="en-US" sz="1100" i="1" dirty="0" err="1" smtClean="0"/>
              <a:t>Ukázka</a:t>
            </a:r>
            <a:r>
              <a:rPr lang="en-US" sz="1100" i="1" dirty="0" smtClean="0"/>
              <a:t> </a:t>
            </a:r>
            <a:r>
              <a:rPr lang="en-US" sz="1100" i="1" dirty="0" err="1" smtClean="0"/>
              <a:t>korelace</a:t>
            </a:r>
            <a:r>
              <a:rPr lang="en-US" sz="1100" i="1" dirty="0" smtClean="0"/>
              <a:t> </a:t>
            </a:r>
            <a:r>
              <a:rPr lang="en-US" sz="1100" i="1" dirty="0" err="1" smtClean="0"/>
              <a:t>kriminality</a:t>
            </a:r>
            <a:r>
              <a:rPr lang="en-US" sz="1100" i="1" dirty="0" smtClean="0"/>
              <a:t> s </a:t>
            </a:r>
            <a:r>
              <a:rPr lang="en-US" sz="1100" i="1" dirty="0" err="1" smtClean="0"/>
              <a:t>dekriminalizací</a:t>
            </a:r>
            <a:r>
              <a:rPr lang="en-US" sz="1100" i="1" dirty="0" smtClean="0"/>
              <a:t> a </a:t>
            </a:r>
            <a:r>
              <a:rPr lang="en-US" sz="1100" i="1" dirty="0" err="1" smtClean="0"/>
              <a:t>legalizací</a:t>
            </a:r>
            <a:r>
              <a:rPr lang="en-US" sz="1100" i="1" dirty="0" smtClean="0"/>
              <a:t> </a:t>
            </a:r>
            <a:r>
              <a:rPr lang="en-US" sz="1100" i="1" dirty="0" err="1" smtClean="0"/>
              <a:t>léčebného</a:t>
            </a:r>
            <a:r>
              <a:rPr lang="en-US" sz="1100" i="1" dirty="0" smtClean="0"/>
              <a:t> </a:t>
            </a:r>
            <a:r>
              <a:rPr lang="en-US" sz="1100" i="1" dirty="0" err="1" smtClean="0"/>
              <a:t>konopí</a:t>
            </a:r>
            <a:r>
              <a:rPr lang="en-US" sz="1100" i="1" dirty="0" smtClean="0"/>
              <a:t>; </a:t>
            </a:r>
            <a:r>
              <a:rPr lang="en-US" sz="1100" i="1" dirty="0" err="1" smtClean="0"/>
              <a:t>Obr</a:t>
            </a:r>
            <a:r>
              <a:rPr lang="en-US" sz="1100" i="1" dirty="0" smtClean="0"/>
              <a:t>. 2: </a:t>
            </a:r>
            <a:r>
              <a:rPr lang="en-US" sz="1100" i="1" dirty="0" err="1" smtClean="0"/>
              <a:t>Korelace</a:t>
            </a:r>
            <a:r>
              <a:rPr lang="en-US" sz="1100" i="1" dirty="0" smtClean="0"/>
              <a:t> </a:t>
            </a:r>
            <a:r>
              <a:rPr lang="en-US" sz="1100" i="1" dirty="0" err="1" smtClean="0"/>
              <a:t>průměrné</a:t>
            </a:r>
            <a:r>
              <a:rPr lang="en-US" sz="1100" i="1" dirty="0" smtClean="0"/>
              <a:t> prevalence </a:t>
            </a:r>
            <a:r>
              <a:rPr lang="en-US" sz="1100" i="1" dirty="0" err="1" smtClean="0"/>
              <a:t>kriminality</a:t>
            </a:r>
            <a:r>
              <a:rPr lang="en-US" sz="1100" i="1" dirty="0" smtClean="0"/>
              <a:t> v </a:t>
            </a:r>
            <a:r>
              <a:rPr lang="en-US" sz="1100" i="1" dirty="0" err="1" smtClean="0"/>
              <a:t>legalizujících</a:t>
            </a:r>
            <a:r>
              <a:rPr lang="en-US" sz="1100" i="1" dirty="0" smtClean="0"/>
              <a:t> </a:t>
            </a:r>
            <a:r>
              <a:rPr lang="en-US" sz="1100" i="1" dirty="0" err="1" smtClean="0"/>
              <a:t>státech</a:t>
            </a:r>
            <a:r>
              <a:rPr lang="en-US" sz="1100" i="1" dirty="0" smtClean="0"/>
              <a:t> </a:t>
            </a:r>
            <a:r>
              <a:rPr lang="en-US" sz="1100" i="1" dirty="0" err="1" smtClean="0"/>
              <a:t>napříč</a:t>
            </a:r>
            <a:r>
              <a:rPr lang="en-US" sz="1100" i="1" dirty="0" smtClean="0"/>
              <a:t> USA; </a:t>
            </a:r>
            <a:r>
              <a:rPr lang="en-US" sz="1100" i="1" dirty="0" err="1" smtClean="0"/>
              <a:t>zdroj</a:t>
            </a:r>
            <a:r>
              <a:rPr lang="en-US" sz="1100" i="1" dirty="0" smtClean="0"/>
              <a:t>: Huber III, A., Newman, R. a </a:t>
            </a:r>
            <a:r>
              <a:rPr lang="en-US" sz="1100" i="1" dirty="0" err="1" smtClean="0"/>
              <a:t>LaFave</a:t>
            </a:r>
            <a:r>
              <a:rPr lang="en-US" sz="1100" i="1" dirty="0" smtClean="0"/>
              <a:t>, D.:  Cannabis Control and Crime: Medicinal Use, </a:t>
            </a:r>
            <a:r>
              <a:rPr lang="en-US" sz="1100" i="1" dirty="0" err="1" smtClean="0"/>
              <a:t>Depenalization</a:t>
            </a:r>
            <a:r>
              <a:rPr lang="en-US" sz="1100" i="1" dirty="0" smtClean="0"/>
              <a:t> and the War on Drugs (2016)</a:t>
            </a:r>
            <a:endParaRPr lang="cs-CZ" sz="1100" i="1" dirty="0"/>
          </a:p>
        </p:txBody>
      </p:sp>
      <p:pic>
        <p:nvPicPr>
          <p:cNvPr id="17" name="Picture 16" descr="crime_rates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6073" y="1458488"/>
            <a:ext cx="6954221" cy="4172533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8532195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ln>
            <a:noFill/>
          </a:ln>
        </p:spPr>
        <p:txBody>
          <a:bodyPr/>
          <a:lstStyle/>
          <a:p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rimárn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evence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–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vhodná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investice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egalizac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získaných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zdrojů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just"/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Dokumenty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ze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terých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jsme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čerpali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:</a:t>
            </a:r>
          </a:p>
          <a:p>
            <a:pPr lvl="1" algn="just"/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Akční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plán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realizace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Národní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strategie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protidrogové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politiky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na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období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2016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až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2018 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(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Rada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vlády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pro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koordinaci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protidrogové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politiky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)</a:t>
            </a:r>
            <a:endParaRPr lang="en-US" b="1" dirty="0" smtClean="0">
              <a:solidFill>
                <a:schemeClr val="tx1">
                  <a:lumMod val="75000"/>
                  <a:lumOff val="25000"/>
                </a:schemeClr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lvl="1" algn="just"/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Výroční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zpráva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o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stavu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ve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věcech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drog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v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České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republice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v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roce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2015</a:t>
            </a:r>
            <a:r>
              <a:rPr lang="en-US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(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Národní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monitorovací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středisko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pro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drogy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a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závislosti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)</a:t>
            </a:r>
          </a:p>
          <a:p>
            <a:pPr algn="just"/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V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současnosti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má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RVKPP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snahu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o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racionální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přístup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k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problematice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nicméně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je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zde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evidentní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nedostatek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financí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na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prevenci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–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prostor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pro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změnu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k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lepšímu</a:t>
            </a:r>
            <a:endParaRPr lang="en-US" b="1" dirty="0">
              <a:solidFill>
                <a:schemeClr val="tx1">
                  <a:lumMod val="75000"/>
                  <a:lumOff val="25000"/>
                </a:schemeClr>
              </a:solidFill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egáln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a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egulované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700BF-2326-DB4F-8F72-13BDA6DF694D}" type="slidenum">
              <a:rPr lang="cs-CZ" smtClean="0"/>
              <a:pPr/>
              <a:t>8</a:t>
            </a:fld>
            <a:endParaRPr lang="cs-CZ" dirty="0"/>
          </a:p>
        </p:txBody>
      </p:sp>
    </p:spTree>
    <p:extLst>
      <p:ext uri="{BB962C8B-B14F-4D97-AF65-F5344CB8AC3E}">
        <p14:creationId xmlns="" xmlns:p14="http://schemas.microsoft.com/office/powerpoint/2010/main" val="7821664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1" y="395408"/>
            <a:ext cx="7886700" cy="467320"/>
          </a:xfrm>
        </p:spPr>
        <p:txBody>
          <a:bodyPr/>
          <a:lstStyle/>
          <a:p>
            <a:r>
              <a:rPr lang="cs-CZ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Výroky autorů reformy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1" y="1256957"/>
            <a:ext cx="7886700" cy="4698996"/>
          </a:xfrm>
        </p:spPr>
        <p:txBody>
          <a:bodyPr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Tx/>
              <a:buSzTx/>
              <a:buFontTx/>
              <a:buNone/>
              <a:tabLst/>
              <a:defRPr/>
            </a:pPr>
            <a:r>
              <a:rPr lang="cs-CZ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„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Je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emístné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aby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tát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ozhodoval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o tom,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zda-li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i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dospělý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člověk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může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ěstovat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ostlinu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jenž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evidentně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epředstavuje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žádné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elevantní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ebezpečí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.</a:t>
            </a:r>
            <a:r>
              <a:rPr lang="cs-CZ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“</a:t>
            </a:r>
            <a:r>
              <a:rPr lang="cs-CZ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/>
            </a:r>
            <a:br>
              <a:rPr lang="en-US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</a:br>
            <a:r>
              <a:rPr lang="cs-CZ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(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Michal </a:t>
            </a:r>
            <a:r>
              <a:rPr lang="en-US" sz="16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Ketner</a:t>
            </a:r>
            <a:r>
              <a:rPr lang="cs-CZ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)</a:t>
            </a:r>
            <a:endParaRPr lang="cs-CZ" sz="1600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marL="0" indent="0" defTabSz="914400">
              <a:spcBef>
                <a:spcPts val="0"/>
              </a:spcBef>
              <a:spcAft>
                <a:spcPts val="3000"/>
              </a:spcAft>
              <a:buNone/>
              <a:defRPr/>
            </a:pPr>
            <a:r>
              <a:rPr lang="cs-CZ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„</a:t>
            </a:r>
            <a:r>
              <a:rPr lang="en-US" sz="1600" dirty="0" smtClean="0"/>
              <a:t> 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V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Česku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bývá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zvykem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vzít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dobrý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ápad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ze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zahraničí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a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elhat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v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jeho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implementaci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.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egulovanou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egalizaci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ze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udělat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dobře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ebo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špatně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. My se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ji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nažíme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udělat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dobře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.</a:t>
            </a:r>
            <a:r>
              <a:rPr lang="cs-CZ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“ </a:t>
            </a:r>
            <a:r>
              <a:rPr lang="cs-CZ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(</a:t>
            </a:r>
            <a:r>
              <a:rPr lang="en-US" sz="16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Tomáš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Vymazal</a:t>
            </a:r>
            <a:r>
              <a:rPr lang="cs-CZ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)</a:t>
            </a:r>
            <a:endParaRPr lang="cs-CZ" sz="1600" dirty="0" smtClean="0"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marL="0" indent="0" defTabSz="914400">
              <a:spcBef>
                <a:spcPts val="0"/>
              </a:spcBef>
              <a:spcAft>
                <a:spcPts val="3000"/>
              </a:spcAft>
              <a:buNone/>
              <a:defRPr/>
            </a:pPr>
            <a:r>
              <a:rPr lang="cs-CZ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„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Vyžadujeme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egalizaci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amopěstování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–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jedině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tak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ze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zabránit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rofitování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rporátu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a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epresi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jednotlivců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.</a:t>
            </a:r>
            <a:r>
              <a:rPr lang="cs-CZ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“ </a:t>
            </a:r>
            <a:r>
              <a:rPr lang="cs-CZ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(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Jana </a:t>
            </a:r>
            <a:r>
              <a:rPr lang="en-US" sz="16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Michailidu</a:t>
            </a:r>
            <a:r>
              <a:rPr lang="cs-CZ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)</a:t>
            </a:r>
            <a:endParaRPr lang="cs-CZ" sz="1600" dirty="0" smtClean="0"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marL="0" indent="0" defTabSz="914400">
              <a:spcBef>
                <a:spcPts val="0"/>
              </a:spcBef>
              <a:spcAft>
                <a:spcPts val="3000"/>
              </a:spcAft>
              <a:buNone/>
              <a:defRPr/>
            </a:pPr>
            <a:r>
              <a:rPr lang="cs-CZ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„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okud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se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chceme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tvářit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že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zastáváme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acionální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olitiku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sychotropních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átek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měli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bychom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je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hodnotit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odle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jejich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elevantní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vědecky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odložené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škodlivosti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a ne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a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základě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mýtů</a:t>
            </a:r>
            <a:r>
              <a:rPr lang="cs-CZ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.“ </a:t>
            </a:r>
            <a:r>
              <a:rPr lang="cs-CZ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(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Michal </a:t>
            </a:r>
            <a:r>
              <a:rPr lang="en-US" sz="16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Ketner</a:t>
            </a:r>
            <a:r>
              <a:rPr lang="cs-CZ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)</a:t>
            </a:r>
            <a:endParaRPr lang="cs-CZ" sz="1600" dirty="0" smtClean="0"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marL="0" indent="0" defTabSz="914400">
              <a:spcBef>
                <a:spcPts val="0"/>
              </a:spcBef>
              <a:spcAft>
                <a:spcPts val="3000"/>
              </a:spcAft>
              <a:buNone/>
              <a:defRPr/>
            </a:pPr>
            <a:r>
              <a:rPr lang="cs-CZ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„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ávrat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této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ostliny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do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ormálního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života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české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společnosti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bude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dalším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malým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vítězstvím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proti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nesmyslným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a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zastaralým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mezinárodním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</a:t>
            </a:r>
            <a:r>
              <a:rPr lang="en-US" sz="1600" i="1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úmluvám</a:t>
            </a:r>
            <a:r>
              <a:rPr lang="cs-CZ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.“ </a:t>
            </a:r>
            <a: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/>
            </a:r>
            <a:br>
              <a:rPr lang="en-US" sz="1600" i="1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</a:br>
            <a:r>
              <a:rPr lang="cs-CZ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(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Jana </a:t>
            </a:r>
            <a:r>
              <a:rPr lang="en-US" sz="16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M+ 1c" pitchFamily="34" charset="-128"/>
                <a:ea typeface="M+ 1c" pitchFamily="34" charset="-128"/>
                <a:cs typeface="M+ 1c" pitchFamily="34" charset="-128"/>
              </a:rPr>
              <a:t>Michailidu</a:t>
            </a:r>
            <a:r>
              <a:rPr lang="cs-CZ" sz="1600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)</a:t>
            </a:r>
            <a:endParaRPr lang="cs-CZ" sz="1600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  <a:p>
            <a:pPr marL="0" indent="0" defTabSz="914400">
              <a:spcBef>
                <a:spcPts val="0"/>
              </a:spcBef>
              <a:spcAft>
                <a:spcPts val="3000"/>
              </a:spcAft>
              <a:buNone/>
              <a:defRPr/>
            </a:pPr>
            <a:endParaRPr lang="cs-CZ" sz="1600" i="1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Konop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,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legální</a:t>
            </a:r>
            <a:r>
              <a:rPr lang="en-US" dirty="0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 a </a:t>
            </a:r>
            <a:r>
              <a:rPr lang="en-US" dirty="0" err="1" smtClean="0">
                <a:latin typeface="M+ 1c" pitchFamily="34" charset="-128"/>
                <a:ea typeface="M+ 1c" pitchFamily="34" charset="-128"/>
                <a:cs typeface="M+ 1c" pitchFamily="34" charset="-128"/>
              </a:rPr>
              <a:t>regulované</a:t>
            </a:r>
            <a:endParaRPr lang="cs-CZ" dirty="0">
              <a:latin typeface="M+ 1c" pitchFamily="34" charset="-128"/>
              <a:ea typeface="M+ 1c" pitchFamily="34" charset="-128"/>
              <a:cs typeface="M+ 1c" pitchFamily="34" charset="-128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 smtClean="0"/>
              <a:t>9</a:t>
            </a:r>
            <a:endParaRPr lang="cs-CZ" dirty="0"/>
          </a:p>
        </p:txBody>
      </p:sp>
    </p:spTree>
    <p:extLst>
      <p:ext uri="{BB962C8B-B14F-4D97-AF65-F5344CB8AC3E}">
        <p14:creationId xmlns="" xmlns:p14="http://schemas.microsoft.com/office/powerpoint/2010/main" val="17645703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097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7&quot;&gt;&lt;elem m_fUsage=&quot;1.00000000000000000000E+00&quot;&gt;&lt;m_msothmcolidx val=&quot;0&quot;/&gt;&lt;m_rgb r=&quot;FF&quot; g=&quot;CB&quot; b=&quot;40&quot;/&gt;&lt;m_nBrightness val=&quot;0&quot;/&gt;&lt;/elem&gt;&lt;elem m_fUsage=&quot;9.00000000000000022204E-01&quot;&gt;&lt;m_msothmcolidx val=&quot;0&quot;/&gt;&lt;m_rgb r=&quot;83&quot; g=&quot;0C&quot; b=&quot;D1&quot;/&gt;&lt;m_nBrightness val=&quot;0&quot;/&gt;&lt;/elem&gt;&lt;elem m_fUsage=&quot;8.10000000000000053291E-01&quot;&gt;&lt;m_msothmcolidx val=&quot;0&quot;/&gt;&lt;m_rgb r=&quot;03&quot; g=&quot;4A&quot; b=&quot;92&quot;/&gt;&lt;m_nBrightness val=&quot;0&quot;/&gt;&lt;/elem&gt;&lt;elem m_fUsage=&quot;7.29000000000000092371E-01&quot;&gt;&lt;m_msothmcolidx val=&quot;0&quot;/&gt;&lt;m_rgb r=&quot;43&quot; g=&quot;9E&quot; b=&quot;FA&quot;/&gt;&lt;m_nBrightness val=&quot;0&quot;/&gt;&lt;/elem&gt;&lt;elem m_fUsage=&quot;6.56100000000000127542E-01&quot;&gt;&lt;m_msothmcolidx val=&quot;0&quot;/&gt;&lt;m_rgb r=&quot;FF&quot; g=&quot;C0&quot; b=&quot;00&quot;/&gt;&lt;m_nBrightness val=&quot;0&quot;/&gt;&lt;/elem&gt;&lt;elem m_fUsage=&quot;5.90490000000000181402E-01&quot;&gt;&lt;m_msothmcolidx val=&quot;0&quot;/&gt;&lt;m_rgb r=&quot;8F&quot; g=&quot;02&quot; b=&quot;DB&quot;/&gt;&lt;m_nBrightness val=&quot;0&quot;/&gt;&lt;/elem&gt;&lt;elem m_fUsage=&quot;5.31441000000000163261E-01&quot;&gt;&lt;m_msothmcolidx val=&quot;0&quot;/&gt;&lt;m_rgb r=&quot;B7&quot; g=&quot;17&quot; b=&quot;0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4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DE1900"/>
      </a:accent1>
      <a:accent2>
        <a:srgbClr val="008E00"/>
      </a:accent2>
      <a:accent3>
        <a:srgbClr val="A5A5A5"/>
      </a:accent3>
      <a:accent4>
        <a:srgbClr val="FF9501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189</TotalTime>
  <Words>634</Words>
  <Application>Microsoft Macintosh PowerPoint</Application>
  <PresentationFormat>On-screen Show (4:3)</PresentationFormat>
  <Paragraphs>119</Paragraphs>
  <Slides>10</Slides>
  <Notes>3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2" baseType="lpstr">
      <vt:lpstr>Office Theme</vt:lpstr>
      <vt:lpstr>think-cell Slide</vt:lpstr>
      <vt:lpstr>Slide 1</vt:lpstr>
      <vt:lpstr>Chceme legalizovat konopí. Jak to vidíme?</vt:lpstr>
      <vt:lpstr>Nedostupné konopí a černý trh – současná situace</vt:lpstr>
      <vt:lpstr>Naše představa regulace samopěstování</vt:lpstr>
      <vt:lpstr>Chceme legalizovat a regulovat trh s konopím </vt:lpstr>
      <vt:lpstr>Systém dovolující uživatelům operovat legálně na základě osobních preferencí</vt:lpstr>
      <vt:lpstr>Legalizace konopí neznamená zvýšení kriminality ve společnosti – čísla ukazují spíše opačný trend</vt:lpstr>
      <vt:lpstr>Primární prevence – vhodná investice legalizací získaných zdrojů</vt:lpstr>
      <vt:lpstr>Výroky autorů reformy</vt:lpstr>
      <vt:lpstr>Autoři reformy</vt:lpstr>
    </vt:vector>
  </TitlesOfParts>
  <LinksUpToDate>false</LinksUpToDate>
  <SharedDoc>false</SharedDoc>
  <HyperlinkBase/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outhwest</dc:title>
  <dc:creator>Stepan Strebl</dc:creator>
  <cp:lastModifiedBy>Zadek</cp:lastModifiedBy>
  <cp:revision>474</cp:revision>
  <cp:lastPrinted>2017-06-16T18:27:17Z</cp:lastPrinted>
  <dcterms:created xsi:type="dcterms:W3CDTF">2016-12-03T14:01:11Z</dcterms:created>
  <dcterms:modified xsi:type="dcterms:W3CDTF">2017-07-31T21:43:18Z</dcterms:modified>
</cp:coreProperties>
</file>